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9" r:id="rId5"/>
  </p:sldMasterIdLst>
  <p:notesMasterIdLst>
    <p:notesMasterId r:id="rId8"/>
  </p:notesMasterIdLst>
  <p:sldIdLst>
    <p:sldId id="309" r:id="rId6"/>
    <p:sldId id="2146846624" r:id="rId7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9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mara Johnson" initials="TJ" lastIdx="3" clrIdx="0">
    <p:extLst>
      <p:ext uri="{19B8F6BF-5375-455C-9EA6-DF929625EA0E}">
        <p15:presenceInfo xmlns:p15="http://schemas.microsoft.com/office/powerpoint/2012/main" userId="S::tamara.johnson@dteenergy.com::4d44d27b-2cd5-4afc-8830-28e5c56086ff" providerId="AD"/>
      </p:ext>
    </p:extLst>
  </p:cmAuthor>
  <p:cmAuthor id="2" name="Sakinah N Howard" initials="SH" lastIdx="3" clrIdx="1">
    <p:extLst>
      <p:ext uri="{19B8F6BF-5375-455C-9EA6-DF929625EA0E}">
        <p15:presenceInfo xmlns:p15="http://schemas.microsoft.com/office/powerpoint/2012/main" userId="S::sakinah.howard@dteenergy.com::82a86b22-f2be-435d-a216-355628f583d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1CE"/>
    <a:srgbClr val="59BEC9"/>
    <a:srgbClr val="007C91"/>
    <a:srgbClr val="8FAD15"/>
    <a:srgbClr val="D2D755"/>
    <a:srgbClr val="95703D"/>
    <a:srgbClr val="DBA459"/>
    <a:srgbClr val="1E3575"/>
    <a:srgbClr val="92D050"/>
    <a:srgbClr val="949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42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1980" y="102"/>
      </p:cViewPr>
      <p:guideLst>
        <p:guide orient="horz" pos="2184"/>
        <p:guide pos="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mara Johnson" userId="4d44d27b-2cd5-4afc-8830-28e5c56086ff" providerId="ADAL" clId="{BD9ABC74-940E-43E5-89EA-B72908F1BA21}"/>
    <pc:docChg chg="undo redo custSel modSld">
      <pc:chgData name="Tamara Johnson" userId="4d44d27b-2cd5-4afc-8830-28e5c56086ff" providerId="ADAL" clId="{BD9ABC74-940E-43E5-89EA-B72908F1BA21}" dt="2021-11-07T21:51:48.932" v="101" actId="20577"/>
      <pc:docMkLst>
        <pc:docMk/>
      </pc:docMkLst>
      <pc:sldChg chg="addSp delSp modSp mod">
        <pc:chgData name="Tamara Johnson" userId="4d44d27b-2cd5-4afc-8830-28e5c56086ff" providerId="ADAL" clId="{BD9ABC74-940E-43E5-89EA-B72908F1BA21}" dt="2021-11-07T21:49:33.740" v="17" actId="1076"/>
        <pc:sldMkLst>
          <pc:docMk/>
          <pc:sldMk cId="4240595171" sldId="309"/>
        </pc:sldMkLst>
        <pc:spChg chg="add del mod ord">
          <ac:chgData name="Tamara Johnson" userId="4d44d27b-2cd5-4afc-8830-28e5c56086ff" providerId="ADAL" clId="{BD9ABC74-940E-43E5-89EA-B72908F1BA21}" dt="2021-11-07T21:48:44.599" v="11" actId="11529"/>
          <ac:spMkLst>
            <pc:docMk/>
            <pc:sldMk cId="4240595171" sldId="309"/>
            <ac:spMk id="5" creationId="{6851AD1E-ADCC-49E7-A31A-8A51EA6A457D}"/>
          </ac:spMkLst>
        </pc:spChg>
        <pc:spChg chg="mod">
          <ac:chgData name="Tamara Johnson" userId="4d44d27b-2cd5-4afc-8830-28e5c56086ff" providerId="ADAL" clId="{BD9ABC74-940E-43E5-89EA-B72908F1BA21}" dt="2021-11-07T21:49:33.740" v="17" actId="1076"/>
          <ac:spMkLst>
            <pc:docMk/>
            <pc:sldMk cId="4240595171" sldId="309"/>
            <ac:spMk id="163" creationId="{BB62F3A8-2A99-427F-BD67-3CF06168994B}"/>
          </ac:spMkLst>
        </pc:spChg>
      </pc:sldChg>
      <pc:sldChg chg="modSp mod">
        <pc:chgData name="Tamara Johnson" userId="4d44d27b-2cd5-4afc-8830-28e5c56086ff" providerId="ADAL" clId="{BD9ABC74-940E-43E5-89EA-B72908F1BA21}" dt="2021-11-07T21:51:48.932" v="101" actId="20577"/>
        <pc:sldMkLst>
          <pc:docMk/>
          <pc:sldMk cId="318857561" sldId="2146846624"/>
        </pc:sldMkLst>
        <pc:spChg chg="mod">
          <ac:chgData name="Tamara Johnson" userId="4d44d27b-2cd5-4afc-8830-28e5c56086ff" providerId="ADAL" clId="{BD9ABC74-940E-43E5-89EA-B72908F1BA21}" dt="2021-11-07T21:51:48.932" v="101" actId="20577"/>
          <ac:spMkLst>
            <pc:docMk/>
            <pc:sldMk cId="318857561" sldId="2146846624"/>
            <ac:spMk id="2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5B5DE3-4373-49BA-B80D-F087D9C68F71}" type="datetimeFigureOut">
              <a:rPr lang="en-US" smtClean="0"/>
              <a:t>11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367141-B37D-4B01-9EC8-5AB352D390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174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3001DD-19C0-9A4C-AB02-0A92D46D9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52438" y="1381329"/>
            <a:ext cx="8256587" cy="4892472"/>
          </a:xfrm>
        </p:spPr>
        <p:txBody>
          <a:bodyPr/>
          <a:lstStyle>
            <a:lvl1pPr marL="171442" indent="-171442">
              <a:lnSpc>
                <a:spcPct val="100000"/>
              </a:lnSpc>
              <a:spcAft>
                <a:spcPts val="600"/>
              </a:spcAft>
              <a:buFont typeface="Arial" charset="0"/>
              <a:buChar char="•"/>
              <a:defRPr/>
            </a:lvl1pPr>
            <a:lvl2pPr marL="628634" indent="-285750">
              <a:lnSpc>
                <a:spcPct val="100000"/>
              </a:lnSpc>
              <a:spcAft>
                <a:spcPts val="600"/>
              </a:spcAft>
              <a:buFont typeface=".AppleSystemUIFont" charset="-120"/>
              <a:buChar char="–"/>
              <a:defRPr sz="1600"/>
            </a:lvl2pPr>
            <a:lvl3pPr marL="857208" indent="-171442">
              <a:lnSpc>
                <a:spcPct val="100000"/>
              </a:lnSpc>
              <a:spcAft>
                <a:spcPts val="600"/>
              </a:spcAft>
              <a:buFont typeface="Arial" charset="0"/>
              <a:buChar char="•"/>
              <a:defRPr sz="1400"/>
            </a:lvl3pPr>
            <a:lvl4pPr marL="1200091" indent="-171442">
              <a:lnSpc>
                <a:spcPct val="100000"/>
              </a:lnSpc>
              <a:spcAft>
                <a:spcPts val="600"/>
              </a:spcAft>
              <a:buFont typeface=".AppleSystemUIFont" charset="-120"/>
              <a:buChar char="–"/>
              <a:defRPr sz="1200"/>
            </a:lvl4pPr>
            <a:lvl5pPr marL="1542973" indent="-171442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6103" y="6444382"/>
            <a:ext cx="556683" cy="189062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878186" y="6356351"/>
            <a:ext cx="7382534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048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3001DD-19C0-9A4C-AB02-0A92D46D91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52438" y="1361873"/>
            <a:ext cx="4019974" cy="491192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</p:nvPr>
        </p:nvSpPr>
        <p:spPr>
          <a:xfrm>
            <a:off x="4626322" y="1361873"/>
            <a:ext cx="4083112" cy="491192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6103" y="6444382"/>
            <a:ext cx="556683" cy="189062"/>
          </a:xfrm>
          <a:prstGeom prst="rect">
            <a:avLst/>
          </a:prstGeom>
        </p:spPr>
      </p:pic>
      <p:sp>
        <p:nvSpPr>
          <p:cNvPr id="8" name="Footer Placeholder 3"/>
          <p:cNvSpPr>
            <a:spLocks noGrp="1"/>
          </p:cNvSpPr>
          <p:nvPr>
            <p:ph type="ftr" sz="quarter" idx="14"/>
          </p:nvPr>
        </p:nvSpPr>
        <p:spPr>
          <a:xfrm>
            <a:off x="878186" y="6356351"/>
            <a:ext cx="7382534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969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78186" y="6356351"/>
            <a:ext cx="738253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fld id="{7D3001DD-19C0-9A4C-AB02-0A92D46D91C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6103" y="6444382"/>
            <a:ext cx="556683" cy="189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861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B8C88E-EACB-4553-BD8D-E5D7C9BD5A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244079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B8C88E-EACB-4553-BD8D-E5D7C9BD5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672" y="162232"/>
            <a:ext cx="8256761" cy="10471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672" y="1408471"/>
            <a:ext cx="8256761" cy="47684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67905" y="6356351"/>
            <a:ext cx="73928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0720" y="6356351"/>
            <a:ext cx="4487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D3001DD-19C0-9A4C-AB02-0A92D46D91C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829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3" r:id="rId3"/>
  </p:sldLayoutIdLst>
  <p:hf hdr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20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1pPr>
      <a:lvl2pPr marL="514326" indent="-171442" algn="l" defTabSz="685766" rtl="0" eaLnBrk="1" latinLnBrk="0" hangingPunct="1">
        <a:lnSpc>
          <a:spcPct val="90000"/>
        </a:lnSpc>
        <a:spcBef>
          <a:spcPts val="375"/>
        </a:spcBef>
        <a:buFont typeface=".AppleSystemUIFont" charset="-120"/>
        <a:buChar char="–"/>
        <a:defRPr sz="16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marL="857208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marL="1200091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1542973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188585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8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4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2" algn="l" defTabSz="685766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4">
            <a:extLst>
              <a:ext uri="{FF2B5EF4-FFF2-40B4-BE49-F238E27FC236}">
                <a16:creationId xmlns:a16="http://schemas.microsoft.com/office/drawing/2014/main" id="{7D24D218-FB14-46DA-A8EE-5E0F20801B4C}"/>
              </a:ext>
            </a:extLst>
          </p:cNvPr>
          <p:cNvSpPr/>
          <p:nvPr/>
        </p:nvSpPr>
        <p:spPr>
          <a:xfrm>
            <a:off x="4676840" y="1935651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2" name="Rectangle 4">
            <a:extLst>
              <a:ext uri="{FF2B5EF4-FFF2-40B4-BE49-F238E27FC236}">
                <a16:creationId xmlns:a16="http://schemas.microsoft.com/office/drawing/2014/main" id="{AB72D163-180B-4E8A-AD64-AFEFF73B0A50}"/>
              </a:ext>
            </a:extLst>
          </p:cNvPr>
          <p:cNvSpPr/>
          <p:nvPr/>
        </p:nvSpPr>
        <p:spPr>
          <a:xfrm>
            <a:off x="3164229" y="1935651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26" name="Object 25" hidden="1">
            <a:extLst>
              <a:ext uri="{FF2B5EF4-FFF2-40B4-BE49-F238E27FC236}">
                <a16:creationId xmlns:a16="http://schemas.microsoft.com/office/drawing/2014/main" id="{FD255DEB-19B2-4B24-B9DA-3F58BCE8F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961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6" name="Object 25" hidden="1">
                        <a:extLst>
                          <a:ext uri="{FF2B5EF4-FFF2-40B4-BE49-F238E27FC236}">
                            <a16:creationId xmlns:a16="http://schemas.microsoft.com/office/drawing/2014/main" id="{FD255DEB-19B2-4B24-B9DA-3F58BCE8FA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114" y="88679"/>
            <a:ext cx="8256761" cy="1047136"/>
          </a:xfrm>
        </p:spPr>
        <p:txBody>
          <a:bodyPr vert="horz">
            <a:normAutofit/>
          </a:bodyPr>
          <a:lstStyle/>
          <a:p>
            <a:r>
              <a:rPr lang="en-US" dirty="0"/>
              <a:t>To continue driving accessibility to energy assistance, we leverage our existing processes and our targeted proactive outreach to income-challenged customer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3001DD-19C0-9A4C-AB02-0A92D46D91C4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86A619D-1BE2-4538-8A13-AF1008C8DD79}"/>
              </a:ext>
            </a:extLst>
          </p:cNvPr>
          <p:cNvSpPr/>
          <p:nvPr/>
        </p:nvSpPr>
        <p:spPr>
          <a:xfrm>
            <a:off x="169919" y="1219483"/>
            <a:ext cx="4311046" cy="274320"/>
          </a:xfrm>
          <a:prstGeom prst="rect">
            <a:avLst/>
          </a:prstGeom>
          <a:gradFill flip="none" rotWithShape="1">
            <a:gsLst>
              <a:gs pos="0">
                <a:srgbClr val="95703D"/>
              </a:gs>
              <a:gs pos="50000">
                <a:srgbClr val="D2D755"/>
              </a:gs>
              <a:gs pos="100000">
                <a:srgbClr val="8FAD1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active Outreach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BFA3B315-133B-4840-A041-8A183726D45E}"/>
              </a:ext>
            </a:extLst>
          </p:cNvPr>
          <p:cNvSpPr/>
          <p:nvPr/>
        </p:nvSpPr>
        <p:spPr>
          <a:xfrm>
            <a:off x="4676476" y="1219483"/>
            <a:ext cx="4354361" cy="274320"/>
          </a:xfrm>
          <a:prstGeom prst="rect">
            <a:avLst/>
          </a:prstGeom>
          <a:gradFill flip="none" rotWithShape="1">
            <a:gsLst>
              <a:gs pos="0">
                <a:srgbClr val="007C91"/>
              </a:gs>
              <a:gs pos="50000">
                <a:srgbClr val="59BEC9"/>
              </a:gs>
              <a:gs pos="100000">
                <a:srgbClr val="0071CE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Accessibility Tactics</a:t>
            </a: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33C7CC60-7D67-4BC6-9922-2B87885DAFF1}"/>
              </a:ext>
            </a:extLst>
          </p:cNvPr>
          <p:cNvSpPr/>
          <p:nvPr/>
        </p:nvSpPr>
        <p:spPr>
          <a:xfrm>
            <a:off x="3160585" y="5455515"/>
            <a:ext cx="1324024" cy="731520"/>
          </a:xfrm>
          <a:prstGeom prst="rect">
            <a:avLst/>
          </a:prstGeom>
          <a:solidFill>
            <a:srgbClr val="8FAD1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ail Blasts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D2C4BAEB-22D0-4AFF-AA5E-D6009A022ACA}"/>
              </a:ext>
            </a:extLst>
          </p:cNvPr>
          <p:cNvSpPr/>
          <p:nvPr/>
        </p:nvSpPr>
        <p:spPr>
          <a:xfrm>
            <a:off x="1655626" y="5455515"/>
            <a:ext cx="1316736" cy="731520"/>
          </a:xfrm>
          <a:prstGeom prst="rect">
            <a:avLst/>
          </a:prstGeom>
          <a:solidFill>
            <a:srgbClr val="D2D75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mated Letter Campaign</a:t>
            </a:r>
          </a:p>
        </p:txBody>
      </p:sp>
      <p:sp>
        <p:nvSpPr>
          <p:cNvPr id="153" name="Rectangle 4">
            <a:extLst>
              <a:ext uri="{FF2B5EF4-FFF2-40B4-BE49-F238E27FC236}">
                <a16:creationId xmlns:a16="http://schemas.microsoft.com/office/drawing/2014/main" id="{F2AFB98E-BA6A-42B7-BD0C-4568409C33C5}"/>
              </a:ext>
            </a:extLst>
          </p:cNvPr>
          <p:cNvSpPr/>
          <p:nvPr/>
        </p:nvSpPr>
        <p:spPr>
          <a:xfrm>
            <a:off x="1655626" y="1935651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61" name="Rectangle 4">
            <a:extLst>
              <a:ext uri="{FF2B5EF4-FFF2-40B4-BE49-F238E27FC236}">
                <a16:creationId xmlns:a16="http://schemas.microsoft.com/office/drawing/2014/main" id="{5365D641-3E39-4829-BAE5-8BB3F792D6EA}"/>
              </a:ext>
            </a:extLst>
          </p:cNvPr>
          <p:cNvSpPr/>
          <p:nvPr/>
        </p:nvSpPr>
        <p:spPr>
          <a:xfrm>
            <a:off x="6188723" y="1940429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3EFCEED8-2278-45BF-A79D-ED973082F0B5}"/>
              </a:ext>
            </a:extLst>
          </p:cNvPr>
          <p:cNvSpPr/>
          <p:nvPr/>
        </p:nvSpPr>
        <p:spPr>
          <a:xfrm>
            <a:off x="4672832" y="5460293"/>
            <a:ext cx="1324024" cy="731520"/>
          </a:xfrm>
          <a:prstGeom prst="rect">
            <a:avLst/>
          </a:prstGeom>
          <a:solidFill>
            <a:srgbClr val="007C9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 Navigation</a:t>
            </a: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A51E16DD-1E2E-4863-8214-DF1C99B198B8}"/>
              </a:ext>
            </a:extLst>
          </p:cNvPr>
          <p:cNvSpPr/>
          <p:nvPr/>
        </p:nvSpPr>
        <p:spPr>
          <a:xfrm>
            <a:off x="6185079" y="5460293"/>
            <a:ext cx="1324024" cy="731520"/>
          </a:xfrm>
          <a:prstGeom prst="rect">
            <a:avLst/>
          </a:prstGeom>
          <a:solidFill>
            <a:srgbClr val="59BEC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Sharing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E4BA92DA-E6B7-48EB-89D7-BAC8310AEDC1}"/>
              </a:ext>
            </a:extLst>
          </p:cNvPr>
          <p:cNvSpPr/>
          <p:nvPr/>
        </p:nvSpPr>
        <p:spPr>
          <a:xfrm>
            <a:off x="7697328" y="5460293"/>
            <a:ext cx="1324024" cy="731520"/>
          </a:xfrm>
          <a:prstGeom prst="rect">
            <a:avLst/>
          </a:prstGeom>
          <a:solidFill>
            <a:srgbClr val="0071C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unity Partnership</a:t>
            </a:r>
          </a:p>
        </p:txBody>
      </p:sp>
      <p:sp>
        <p:nvSpPr>
          <p:cNvPr id="165" name="Rectangle 4">
            <a:extLst>
              <a:ext uri="{FF2B5EF4-FFF2-40B4-BE49-F238E27FC236}">
                <a16:creationId xmlns:a16="http://schemas.microsoft.com/office/drawing/2014/main" id="{69FA04EC-FDE6-4500-8FD5-A945F77C95FF}"/>
              </a:ext>
            </a:extLst>
          </p:cNvPr>
          <p:cNvSpPr/>
          <p:nvPr/>
        </p:nvSpPr>
        <p:spPr>
          <a:xfrm>
            <a:off x="7700972" y="1940429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2E662A9-224E-46AC-865D-0C4DE8A43980}"/>
              </a:ext>
            </a:extLst>
          </p:cNvPr>
          <p:cNvGrpSpPr/>
          <p:nvPr/>
        </p:nvGrpSpPr>
        <p:grpSpPr>
          <a:xfrm>
            <a:off x="1598975" y="1712631"/>
            <a:ext cx="1372584" cy="1317772"/>
            <a:chOff x="1598975" y="1712631"/>
            <a:chExt cx="1372584" cy="1317772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E48706B4-B0AD-488D-B1B3-BEA728D422D2}"/>
                </a:ext>
              </a:extLst>
            </p:cNvPr>
            <p:cNvGrpSpPr/>
            <p:nvPr/>
          </p:nvGrpSpPr>
          <p:grpSpPr>
            <a:xfrm>
              <a:off x="1598975" y="1712631"/>
              <a:ext cx="1372584" cy="1317772"/>
              <a:chOff x="1629173" y="1554132"/>
              <a:chExt cx="1372584" cy="1317772"/>
            </a:xfrm>
          </p:grpSpPr>
          <p:sp>
            <p:nvSpPr>
              <p:cNvPr id="97" name="Freeform 40">
                <a:extLst>
                  <a:ext uri="{FF2B5EF4-FFF2-40B4-BE49-F238E27FC236}">
                    <a16:creationId xmlns:a16="http://schemas.microsoft.com/office/drawing/2014/main" id="{1994CDE4-E5B2-41C1-B021-042A676B2214}"/>
                  </a:ext>
                </a:extLst>
              </p:cNvPr>
              <p:cNvSpPr/>
              <p:nvPr/>
            </p:nvSpPr>
            <p:spPr>
              <a:xfrm flipV="1">
                <a:off x="1629173" y="1554132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rgbClr val="D2D75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Freeform 52">
                <a:extLst>
                  <a:ext uri="{FF2B5EF4-FFF2-40B4-BE49-F238E27FC236}">
                    <a16:creationId xmlns:a16="http://schemas.microsoft.com/office/drawing/2014/main" id="{5A920BE6-E312-4F33-ABB7-216D88CE56FA}"/>
                  </a:ext>
                </a:extLst>
              </p:cNvPr>
              <p:cNvSpPr/>
              <p:nvPr/>
            </p:nvSpPr>
            <p:spPr>
              <a:xfrm>
                <a:off x="1728263" y="1640460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98" name="Graphic 97" descr="Open envelope">
              <a:extLst>
                <a:ext uri="{FF2B5EF4-FFF2-40B4-BE49-F238E27FC236}">
                  <a16:creationId xmlns:a16="http://schemas.microsoft.com/office/drawing/2014/main" id="{3E49C04D-8DDF-496F-8445-5737F334F62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024242" y="1984943"/>
              <a:ext cx="548354" cy="521034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9A2AA0D-63B8-4B3A-938C-77D360A73271}"/>
              </a:ext>
            </a:extLst>
          </p:cNvPr>
          <p:cNvGrpSpPr/>
          <p:nvPr/>
        </p:nvGrpSpPr>
        <p:grpSpPr>
          <a:xfrm>
            <a:off x="3117493" y="1712631"/>
            <a:ext cx="1372584" cy="1317772"/>
            <a:chOff x="3117493" y="1712631"/>
            <a:chExt cx="1372584" cy="1317772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FE4790AC-B329-48EC-A764-57CA68170D38}"/>
                </a:ext>
              </a:extLst>
            </p:cNvPr>
            <p:cNvGrpSpPr/>
            <p:nvPr/>
          </p:nvGrpSpPr>
          <p:grpSpPr>
            <a:xfrm>
              <a:off x="3117493" y="1712631"/>
              <a:ext cx="1372584" cy="1317772"/>
              <a:chOff x="12070379" y="2411543"/>
              <a:chExt cx="1372584" cy="1317772"/>
            </a:xfrm>
          </p:grpSpPr>
          <p:sp>
            <p:nvSpPr>
              <p:cNvPr id="104" name="Freeform 40">
                <a:extLst>
                  <a:ext uri="{FF2B5EF4-FFF2-40B4-BE49-F238E27FC236}">
                    <a16:creationId xmlns:a16="http://schemas.microsoft.com/office/drawing/2014/main" id="{91E31DC8-CE73-430D-8175-FFEB525D7A70}"/>
                  </a:ext>
                </a:extLst>
              </p:cNvPr>
              <p:cNvSpPr/>
              <p:nvPr/>
            </p:nvSpPr>
            <p:spPr>
              <a:xfrm flipV="1">
                <a:off x="12070379" y="2411543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5" name="Freeform 52">
                <a:extLst>
                  <a:ext uri="{FF2B5EF4-FFF2-40B4-BE49-F238E27FC236}">
                    <a16:creationId xmlns:a16="http://schemas.microsoft.com/office/drawing/2014/main" id="{268C1ED2-77F2-4C18-83E1-1130E00078C7}"/>
                  </a:ext>
                </a:extLst>
              </p:cNvPr>
              <p:cNvSpPr/>
              <p:nvPr/>
            </p:nvSpPr>
            <p:spPr>
              <a:xfrm>
                <a:off x="12169469" y="2497871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34" name="Freeform 66">
              <a:extLst>
                <a:ext uri="{FF2B5EF4-FFF2-40B4-BE49-F238E27FC236}">
                  <a16:creationId xmlns:a16="http://schemas.microsoft.com/office/drawing/2014/main" id="{448EF59D-53C9-47BB-ACB0-E5BF0983F565}"/>
                </a:ext>
              </a:extLst>
            </p:cNvPr>
            <p:cNvSpPr/>
            <p:nvPr/>
          </p:nvSpPr>
          <p:spPr>
            <a:xfrm>
              <a:off x="3681912" y="2060921"/>
              <a:ext cx="259781" cy="447523"/>
            </a:xfrm>
            <a:custGeom>
              <a:avLst/>
              <a:gdLst>
                <a:gd name="connsiteX0" fmla="*/ 606153 w 1212304"/>
                <a:gd name="connsiteY0" fmla="*/ 1808112 h 2130841"/>
                <a:gd name="connsiteX1" fmla="*/ 490301 w 1212304"/>
                <a:gd name="connsiteY1" fmla="*/ 1923964 h 2130841"/>
                <a:gd name="connsiteX2" fmla="*/ 606153 w 1212304"/>
                <a:gd name="connsiteY2" fmla="*/ 2039816 h 2130841"/>
                <a:gd name="connsiteX3" fmla="*/ 722005 w 1212304"/>
                <a:gd name="connsiteY3" fmla="*/ 1923964 h 2130841"/>
                <a:gd name="connsiteX4" fmla="*/ 606153 w 1212304"/>
                <a:gd name="connsiteY4" fmla="*/ 1808112 h 2130841"/>
                <a:gd name="connsiteX5" fmla="*/ 144814 w 1212304"/>
                <a:gd name="connsiteY5" fmla="*/ 388930 h 2130841"/>
                <a:gd name="connsiteX6" fmla="*/ 144814 w 1212304"/>
                <a:gd name="connsiteY6" fmla="*/ 1766736 h 2130841"/>
                <a:gd name="connsiteX7" fmla="*/ 1067490 w 1212304"/>
                <a:gd name="connsiteY7" fmla="*/ 1766736 h 2130841"/>
                <a:gd name="connsiteX8" fmla="*/ 1067490 w 1212304"/>
                <a:gd name="connsiteY8" fmla="*/ 388930 h 2130841"/>
                <a:gd name="connsiteX9" fmla="*/ 466855 w 1212304"/>
                <a:gd name="connsiteY9" fmla="*/ 132401 h 2130841"/>
                <a:gd name="connsiteX10" fmla="*/ 446856 w 1212304"/>
                <a:gd name="connsiteY10" fmla="*/ 152400 h 2130841"/>
                <a:gd name="connsiteX11" fmla="*/ 446856 w 1212304"/>
                <a:gd name="connsiteY11" fmla="*/ 232392 h 2130841"/>
                <a:gd name="connsiteX12" fmla="*/ 466855 w 1212304"/>
                <a:gd name="connsiteY12" fmla="*/ 252391 h 2130841"/>
                <a:gd name="connsiteX13" fmla="*/ 778550 w 1212304"/>
                <a:gd name="connsiteY13" fmla="*/ 252391 h 2130841"/>
                <a:gd name="connsiteX14" fmla="*/ 798549 w 1212304"/>
                <a:gd name="connsiteY14" fmla="*/ 232392 h 2130841"/>
                <a:gd name="connsiteX15" fmla="*/ 798549 w 1212304"/>
                <a:gd name="connsiteY15" fmla="*/ 152400 h 2130841"/>
                <a:gd name="connsiteX16" fmla="*/ 778550 w 1212304"/>
                <a:gd name="connsiteY16" fmla="*/ 132401 h 2130841"/>
                <a:gd name="connsiteX17" fmla="*/ 106889 w 1212304"/>
                <a:gd name="connsiteY17" fmla="*/ 0 h 2130841"/>
                <a:gd name="connsiteX18" fmla="*/ 1105415 w 1212304"/>
                <a:gd name="connsiteY18" fmla="*/ 0 h 2130841"/>
                <a:gd name="connsiteX19" fmla="*/ 1212304 w 1212304"/>
                <a:gd name="connsiteY19" fmla="*/ 106889 h 2130841"/>
                <a:gd name="connsiteX20" fmla="*/ 1212304 w 1212304"/>
                <a:gd name="connsiteY20" fmla="*/ 2023952 h 2130841"/>
                <a:gd name="connsiteX21" fmla="*/ 1105415 w 1212304"/>
                <a:gd name="connsiteY21" fmla="*/ 2130841 h 2130841"/>
                <a:gd name="connsiteX22" fmla="*/ 106889 w 1212304"/>
                <a:gd name="connsiteY22" fmla="*/ 2130841 h 2130841"/>
                <a:gd name="connsiteX23" fmla="*/ 0 w 1212304"/>
                <a:gd name="connsiteY23" fmla="*/ 2023952 h 2130841"/>
                <a:gd name="connsiteX24" fmla="*/ 0 w 1212304"/>
                <a:gd name="connsiteY24" fmla="*/ 106889 h 2130841"/>
                <a:gd name="connsiteX25" fmla="*/ 106889 w 1212304"/>
                <a:gd name="connsiteY25" fmla="*/ 0 h 2130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2304" h="2130841">
                  <a:moveTo>
                    <a:pt x="606153" y="1808112"/>
                  </a:moveTo>
                  <a:cubicBezTo>
                    <a:pt x="542170" y="1808112"/>
                    <a:pt x="490301" y="1859981"/>
                    <a:pt x="490301" y="1923964"/>
                  </a:cubicBezTo>
                  <a:cubicBezTo>
                    <a:pt x="490301" y="1987947"/>
                    <a:pt x="542170" y="2039816"/>
                    <a:pt x="606153" y="2039816"/>
                  </a:cubicBezTo>
                  <a:cubicBezTo>
                    <a:pt x="670136" y="2039816"/>
                    <a:pt x="722005" y="1987947"/>
                    <a:pt x="722005" y="1923964"/>
                  </a:cubicBezTo>
                  <a:cubicBezTo>
                    <a:pt x="722005" y="1859981"/>
                    <a:pt x="670136" y="1808112"/>
                    <a:pt x="606153" y="1808112"/>
                  </a:cubicBezTo>
                  <a:close/>
                  <a:moveTo>
                    <a:pt x="144814" y="388930"/>
                  </a:moveTo>
                  <a:lnTo>
                    <a:pt x="144814" y="1766736"/>
                  </a:lnTo>
                  <a:lnTo>
                    <a:pt x="1067490" y="1766736"/>
                  </a:lnTo>
                  <a:lnTo>
                    <a:pt x="1067490" y="388930"/>
                  </a:lnTo>
                  <a:close/>
                  <a:moveTo>
                    <a:pt x="466855" y="132401"/>
                  </a:moveTo>
                  <a:cubicBezTo>
                    <a:pt x="455810" y="132401"/>
                    <a:pt x="446856" y="141355"/>
                    <a:pt x="446856" y="152400"/>
                  </a:cubicBezTo>
                  <a:lnTo>
                    <a:pt x="446856" y="232392"/>
                  </a:lnTo>
                  <a:cubicBezTo>
                    <a:pt x="446856" y="243437"/>
                    <a:pt x="455810" y="252391"/>
                    <a:pt x="466855" y="252391"/>
                  </a:cubicBezTo>
                  <a:lnTo>
                    <a:pt x="778550" y="252391"/>
                  </a:lnTo>
                  <a:cubicBezTo>
                    <a:pt x="789595" y="252391"/>
                    <a:pt x="798549" y="243437"/>
                    <a:pt x="798549" y="232392"/>
                  </a:cubicBezTo>
                  <a:lnTo>
                    <a:pt x="798549" y="152400"/>
                  </a:lnTo>
                  <a:cubicBezTo>
                    <a:pt x="798549" y="141355"/>
                    <a:pt x="789595" y="132401"/>
                    <a:pt x="778550" y="132401"/>
                  </a:cubicBezTo>
                  <a:close/>
                  <a:moveTo>
                    <a:pt x="106889" y="0"/>
                  </a:moveTo>
                  <a:lnTo>
                    <a:pt x="1105415" y="0"/>
                  </a:lnTo>
                  <a:cubicBezTo>
                    <a:pt x="1164448" y="0"/>
                    <a:pt x="1212304" y="47856"/>
                    <a:pt x="1212304" y="106889"/>
                  </a:cubicBezTo>
                  <a:lnTo>
                    <a:pt x="1212304" y="2023952"/>
                  </a:lnTo>
                  <a:cubicBezTo>
                    <a:pt x="1212304" y="2082985"/>
                    <a:pt x="1164448" y="2130841"/>
                    <a:pt x="1105415" y="2130841"/>
                  </a:cubicBezTo>
                  <a:lnTo>
                    <a:pt x="106889" y="2130841"/>
                  </a:lnTo>
                  <a:cubicBezTo>
                    <a:pt x="47856" y="2130841"/>
                    <a:pt x="0" y="2082985"/>
                    <a:pt x="0" y="2023952"/>
                  </a:cubicBezTo>
                  <a:lnTo>
                    <a:pt x="0" y="106889"/>
                  </a:lnTo>
                  <a:cubicBezTo>
                    <a:pt x="0" y="47856"/>
                    <a:pt x="47856" y="0"/>
                    <a:pt x="106889" y="0"/>
                  </a:cubicBezTo>
                  <a:close/>
                </a:path>
              </a:pathLst>
            </a:custGeom>
            <a:solidFill>
              <a:srgbClr val="94949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40" name="Freeform 72">
            <a:extLst>
              <a:ext uri="{FF2B5EF4-FFF2-40B4-BE49-F238E27FC236}">
                <a16:creationId xmlns:a16="http://schemas.microsoft.com/office/drawing/2014/main" id="{C044838D-D6A4-427F-9D6E-7CEF31F920BF}"/>
              </a:ext>
            </a:extLst>
          </p:cNvPr>
          <p:cNvSpPr/>
          <p:nvPr/>
        </p:nvSpPr>
        <p:spPr>
          <a:xfrm rot="5171935">
            <a:off x="3929247" y="2239676"/>
            <a:ext cx="287132" cy="79907"/>
          </a:xfrm>
          <a:custGeom>
            <a:avLst/>
            <a:gdLst>
              <a:gd name="connsiteX0" fmla="*/ 0 w 1373501"/>
              <a:gd name="connsiteY0" fmla="*/ 172092 h 374627"/>
              <a:gd name="connsiteX1" fmla="*/ 55613 w 1373501"/>
              <a:gd name="connsiteY1" fmla="*/ 139043 h 374627"/>
              <a:gd name="connsiteX2" fmla="*/ 1369196 w 1373501"/>
              <a:gd name="connsiteY2" fmla="*/ 259094 h 374627"/>
              <a:gd name="connsiteX3" fmla="*/ 1373501 w 1373501"/>
              <a:gd name="connsiteY3" fmla="*/ 263042 h 374627"/>
              <a:gd name="connsiteX4" fmla="*/ 1281325 w 1373501"/>
              <a:gd name="connsiteY4" fmla="*/ 374627 h 374627"/>
              <a:gd name="connsiteX5" fmla="*/ 1265248 w 1373501"/>
              <a:gd name="connsiteY5" fmla="*/ 359789 h 374627"/>
              <a:gd name="connsiteX6" fmla="*/ 181081 w 1373501"/>
              <a:gd name="connsiteY6" fmla="*/ 263301 h 374627"/>
              <a:gd name="connsiteX7" fmla="*/ 92041 w 1373501"/>
              <a:gd name="connsiteY7" fmla="*/ 327187 h 374627"/>
              <a:gd name="connsiteX8" fmla="*/ 0 w 1373501"/>
              <a:gd name="connsiteY8" fmla="*/ 172092 h 374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3501" h="374627">
                <a:moveTo>
                  <a:pt x="0" y="172092"/>
                </a:moveTo>
                <a:lnTo>
                  <a:pt x="55613" y="139043"/>
                </a:lnTo>
                <a:cubicBezTo>
                  <a:pt x="547744" y="-121722"/>
                  <a:pt x="1085719" y="22315"/>
                  <a:pt x="1369196" y="259094"/>
                </a:cubicBezTo>
                <a:lnTo>
                  <a:pt x="1373501" y="263042"/>
                </a:lnTo>
                <a:lnTo>
                  <a:pt x="1281325" y="374627"/>
                </a:lnTo>
                <a:lnTo>
                  <a:pt x="1265248" y="359789"/>
                </a:lnTo>
                <a:cubicBezTo>
                  <a:pt x="1125490" y="240083"/>
                  <a:pt x="660874" y="-38626"/>
                  <a:pt x="181081" y="263301"/>
                </a:cubicBezTo>
                <a:lnTo>
                  <a:pt x="92041" y="327187"/>
                </a:lnTo>
                <a:lnTo>
                  <a:pt x="0" y="172092"/>
                </a:ln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1" name="Freeform 73">
            <a:extLst>
              <a:ext uri="{FF2B5EF4-FFF2-40B4-BE49-F238E27FC236}">
                <a16:creationId xmlns:a16="http://schemas.microsoft.com/office/drawing/2014/main" id="{59E240EB-E706-4EF1-A947-4D4984A274F2}"/>
              </a:ext>
            </a:extLst>
          </p:cNvPr>
          <p:cNvSpPr/>
          <p:nvPr/>
        </p:nvSpPr>
        <p:spPr>
          <a:xfrm rot="5171935">
            <a:off x="3916062" y="2248916"/>
            <a:ext cx="229048" cy="63040"/>
          </a:xfrm>
          <a:custGeom>
            <a:avLst/>
            <a:gdLst>
              <a:gd name="connsiteX0" fmla="*/ 0 w 1095652"/>
              <a:gd name="connsiteY0" fmla="*/ 153217 h 295546"/>
              <a:gd name="connsiteX1" fmla="*/ 55420 w 1095652"/>
              <a:gd name="connsiteY1" fmla="*/ 118363 h 295546"/>
              <a:gd name="connsiteX2" fmla="*/ 1066192 w 1095652"/>
              <a:gd name="connsiteY2" fmla="*/ 179128 h 295546"/>
              <a:gd name="connsiteX3" fmla="*/ 1095652 w 1095652"/>
              <a:gd name="connsiteY3" fmla="*/ 205116 h 295546"/>
              <a:gd name="connsiteX4" fmla="*/ 1020950 w 1095652"/>
              <a:gd name="connsiteY4" fmla="*/ 295546 h 295546"/>
              <a:gd name="connsiteX5" fmla="*/ 1006579 w 1095652"/>
              <a:gd name="connsiteY5" fmla="*/ 283579 h 295546"/>
              <a:gd name="connsiteX6" fmla="*/ 158807 w 1095652"/>
              <a:gd name="connsiteY6" fmla="*/ 233603 h 295546"/>
              <a:gd name="connsiteX7" fmla="*/ 82266 w 1095652"/>
              <a:gd name="connsiteY7" fmla="*/ 291841 h 295546"/>
              <a:gd name="connsiteX8" fmla="*/ 0 w 1095652"/>
              <a:gd name="connsiteY8" fmla="*/ 153217 h 295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5652" h="295546">
                <a:moveTo>
                  <a:pt x="0" y="153217"/>
                </a:moveTo>
                <a:lnTo>
                  <a:pt x="55420" y="118363"/>
                </a:lnTo>
                <a:cubicBezTo>
                  <a:pt x="423675" y="-87956"/>
                  <a:pt x="827294" y="3423"/>
                  <a:pt x="1066192" y="179128"/>
                </a:cubicBezTo>
                <a:lnTo>
                  <a:pt x="1095652" y="205116"/>
                </a:lnTo>
                <a:lnTo>
                  <a:pt x="1020950" y="295546"/>
                </a:lnTo>
                <a:lnTo>
                  <a:pt x="1006579" y="283579"/>
                </a:lnTo>
                <a:cubicBezTo>
                  <a:pt x="868018" y="175465"/>
                  <a:pt x="517610" y="-6188"/>
                  <a:pt x="158807" y="233603"/>
                </a:cubicBezTo>
                <a:lnTo>
                  <a:pt x="82266" y="291841"/>
                </a:lnTo>
                <a:lnTo>
                  <a:pt x="0" y="153217"/>
                </a:ln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2" name="Freeform 74">
            <a:extLst>
              <a:ext uri="{FF2B5EF4-FFF2-40B4-BE49-F238E27FC236}">
                <a16:creationId xmlns:a16="http://schemas.microsoft.com/office/drawing/2014/main" id="{D2B24331-F1E3-41DE-82E5-2020CE53E486}"/>
              </a:ext>
            </a:extLst>
          </p:cNvPr>
          <p:cNvSpPr/>
          <p:nvPr/>
        </p:nvSpPr>
        <p:spPr>
          <a:xfrm rot="5171935">
            <a:off x="3902292" y="2251434"/>
            <a:ext cx="164877" cy="54863"/>
          </a:xfrm>
          <a:custGeom>
            <a:avLst/>
            <a:gdLst>
              <a:gd name="connsiteX0" fmla="*/ 0 w 788693"/>
              <a:gd name="connsiteY0" fmla="*/ 142025 h 257215"/>
              <a:gd name="connsiteX1" fmla="*/ 46866 w 788693"/>
              <a:gd name="connsiteY1" fmla="*/ 105366 h 257215"/>
              <a:gd name="connsiteX2" fmla="*/ 765943 w 788693"/>
              <a:gd name="connsiteY2" fmla="*/ 159052 h 257215"/>
              <a:gd name="connsiteX3" fmla="*/ 788693 w 788693"/>
              <a:gd name="connsiteY3" fmla="*/ 184054 h 257215"/>
              <a:gd name="connsiteX4" fmla="*/ 728257 w 788693"/>
              <a:gd name="connsiteY4" fmla="*/ 257215 h 257215"/>
              <a:gd name="connsiteX5" fmla="*/ 723212 w 788693"/>
              <a:gd name="connsiteY5" fmla="*/ 251566 h 257215"/>
              <a:gd name="connsiteX6" fmla="*/ 119097 w 788693"/>
              <a:gd name="connsiteY6" fmla="*/ 199526 h 257215"/>
              <a:gd name="connsiteX7" fmla="*/ 64644 w 788693"/>
              <a:gd name="connsiteY7" fmla="*/ 250955 h 257215"/>
              <a:gd name="connsiteX8" fmla="*/ 0 w 788693"/>
              <a:gd name="connsiteY8" fmla="*/ 142025 h 257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88693" h="257215">
                <a:moveTo>
                  <a:pt x="0" y="142025"/>
                </a:moveTo>
                <a:lnTo>
                  <a:pt x="46866" y="105366"/>
                </a:lnTo>
                <a:cubicBezTo>
                  <a:pt x="309948" y="-78124"/>
                  <a:pt x="595786" y="2883"/>
                  <a:pt x="765943" y="159052"/>
                </a:cubicBezTo>
                <a:lnTo>
                  <a:pt x="788693" y="184054"/>
                </a:lnTo>
                <a:lnTo>
                  <a:pt x="728257" y="257215"/>
                </a:lnTo>
                <a:lnTo>
                  <a:pt x="723212" y="251566"/>
                </a:lnTo>
                <a:cubicBezTo>
                  <a:pt x="624536" y="154005"/>
                  <a:pt x="375584" y="-12927"/>
                  <a:pt x="119097" y="199526"/>
                </a:cubicBezTo>
                <a:lnTo>
                  <a:pt x="64644" y="250955"/>
                </a:lnTo>
                <a:lnTo>
                  <a:pt x="0" y="142025"/>
                </a:ln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7" name="Rectangle 1036">
            <a:extLst>
              <a:ext uri="{FF2B5EF4-FFF2-40B4-BE49-F238E27FC236}">
                <a16:creationId xmlns:a16="http://schemas.microsoft.com/office/drawing/2014/main" id="{4A4D6263-1CA1-4419-BC3B-C77B1C92541C}"/>
              </a:ext>
            </a:extLst>
          </p:cNvPr>
          <p:cNvSpPr/>
          <p:nvPr/>
        </p:nvSpPr>
        <p:spPr>
          <a:xfrm rot="16428065" flipH="1">
            <a:off x="3387741" y="2239223"/>
            <a:ext cx="308345" cy="81637"/>
          </a:xfrm>
          <a:custGeom>
            <a:avLst/>
            <a:gdLst>
              <a:gd name="connsiteX0" fmla="*/ 0 w 647933"/>
              <a:gd name="connsiteY0" fmla="*/ 0 h 162628"/>
              <a:gd name="connsiteX1" fmla="*/ 647933 w 647933"/>
              <a:gd name="connsiteY1" fmla="*/ 0 h 162628"/>
              <a:gd name="connsiteX2" fmla="*/ 647933 w 647933"/>
              <a:gd name="connsiteY2" fmla="*/ 162628 h 162628"/>
              <a:gd name="connsiteX3" fmla="*/ 0 w 647933"/>
              <a:gd name="connsiteY3" fmla="*/ 162628 h 162628"/>
              <a:gd name="connsiteX4" fmla="*/ 0 w 647933"/>
              <a:gd name="connsiteY4" fmla="*/ 0 h 162628"/>
              <a:gd name="connsiteX0" fmla="*/ 0 w 647933"/>
              <a:gd name="connsiteY0" fmla="*/ 0 h 317471"/>
              <a:gd name="connsiteX1" fmla="*/ 647933 w 647933"/>
              <a:gd name="connsiteY1" fmla="*/ 0 h 317471"/>
              <a:gd name="connsiteX2" fmla="*/ 647933 w 647933"/>
              <a:gd name="connsiteY2" fmla="*/ 162628 h 317471"/>
              <a:gd name="connsiteX3" fmla="*/ 14430 w 647933"/>
              <a:gd name="connsiteY3" fmla="*/ 317471 h 317471"/>
              <a:gd name="connsiteX4" fmla="*/ 0 w 647933"/>
              <a:gd name="connsiteY4" fmla="*/ 0 h 317471"/>
              <a:gd name="connsiteX0" fmla="*/ 0 w 730961"/>
              <a:gd name="connsiteY0" fmla="*/ 183690 h 317471"/>
              <a:gd name="connsiteX1" fmla="*/ 730961 w 730961"/>
              <a:gd name="connsiteY1" fmla="*/ 0 h 317471"/>
              <a:gd name="connsiteX2" fmla="*/ 730961 w 730961"/>
              <a:gd name="connsiteY2" fmla="*/ 162628 h 317471"/>
              <a:gd name="connsiteX3" fmla="*/ 97458 w 730961"/>
              <a:gd name="connsiteY3" fmla="*/ 317471 h 317471"/>
              <a:gd name="connsiteX4" fmla="*/ 0 w 730961"/>
              <a:gd name="connsiteY4" fmla="*/ 183690 h 317471"/>
              <a:gd name="connsiteX0" fmla="*/ 0 w 730961"/>
              <a:gd name="connsiteY0" fmla="*/ 183690 h 331189"/>
              <a:gd name="connsiteX1" fmla="*/ 730961 w 730961"/>
              <a:gd name="connsiteY1" fmla="*/ 0 h 331189"/>
              <a:gd name="connsiteX2" fmla="*/ 727412 w 730961"/>
              <a:gd name="connsiteY2" fmla="*/ 331189 h 331189"/>
              <a:gd name="connsiteX3" fmla="*/ 97458 w 730961"/>
              <a:gd name="connsiteY3" fmla="*/ 317471 h 331189"/>
              <a:gd name="connsiteX4" fmla="*/ 0 w 730961"/>
              <a:gd name="connsiteY4" fmla="*/ 183690 h 331189"/>
              <a:gd name="connsiteX0" fmla="*/ 0 w 843966"/>
              <a:gd name="connsiteY0" fmla="*/ 0 h 147499"/>
              <a:gd name="connsiteX1" fmla="*/ 843966 w 843966"/>
              <a:gd name="connsiteY1" fmla="*/ 35539 h 147499"/>
              <a:gd name="connsiteX2" fmla="*/ 727412 w 843966"/>
              <a:gd name="connsiteY2" fmla="*/ 147499 h 147499"/>
              <a:gd name="connsiteX3" fmla="*/ 97458 w 843966"/>
              <a:gd name="connsiteY3" fmla="*/ 133781 h 147499"/>
              <a:gd name="connsiteX4" fmla="*/ 0 w 843966"/>
              <a:gd name="connsiteY4" fmla="*/ 0 h 147499"/>
              <a:gd name="connsiteX0" fmla="*/ 0 w 832066"/>
              <a:gd name="connsiteY0" fmla="*/ 0 h 147499"/>
              <a:gd name="connsiteX1" fmla="*/ 832066 w 832066"/>
              <a:gd name="connsiteY1" fmla="*/ 35429 h 147499"/>
              <a:gd name="connsiteX2" fmla="*/ 727412 w 832066"/>
              <a:gd name="connsiteY2" fmla="*/ 147499 h 147499"/>
              <a:gd name="connsiteX3" fmla="*/ 97458 w 832066"/>
              <a:gd name="connsiteY3" fmla="*/ 133781 h 147499"/>
              <a:gd name="connsiteX4" fmla="*/ 0 w 832066"/>
              <a:gd name="connsiteY4" fmla="*/ 0 h 147499"/>
              <a:gd name="connsiteX0" fmla="*/ 0 w 839962"/>
              <a:gd name="connsiteY0" fmla="*/ 0 h 147499"/>
              <a:gd name="connsiteX1" fmla="*/ 839962 w 839962"/>
              <a:gd name="connsiteY1" fmla="*/ 39469 h 147499"/>
              <a:gd name="connsiteX2" fmla="*/ 727412 w 839962"/>
              <a:gd name="connsiteY2" fmla="*/ 147499 h 147499"/>
              <a:gd name="connsiteX3" fmla="*/ 97458 w 839962"/>
              <a:gd name="connsiteY3" fmla="*/ 133781 h 147499"/>
              <a:gd name="connsiteX4" fmla="*/ 0 w 839962"/>
              <a:gd name="connsiteY4" fmla="*/ 0 h 147499"/>
              <a:gd name="connsiteX0" fmla="*/ 0 w 835996"/>
              <a:gd name="connsiteY0" fmla="*/ 0 h 147499"/>
              <a:gd name="connsiteX1" fmla="*/ 835996 w 835996"/>
              <a:gd name="connsiteY1" fmla="*/ 39432 h 147499"/>
              <a:gd name="connsiteX2" fmla="*/ 727412 w 835996"/>
              <a:gd name="connsiteY2" fmla="*/ 147499 h 147499"/>
              <a:gd name="connsiteX3" fmla="*/ 97458 w 835996"/>
              <a:gd name="connsiteY3" fmla="*/ 133781 h 147499"/>
              <a:gd name="connsiteX4" fmla="*/ 0 w 835996"/>
              <a:gd name="connsiteY4" fmla="*/ 0 h 147499"/>
              <a:gd name="connsiteX0" fmla="*/ 0 w 835996"/>
              <a:gd name="connsiteY0" fmla="*/ 177223 h 324722"/>
              <a:gd name="connsiteX1" fmla="*/ 482524 w 835996"/>
              <a:gd name="connsiteY1" fmla="*/ 239 h 324722"/>
              <a:gd name="connsiteX2" fmla="*/ 835996 w 835996"/>
              <a:gd name="connsiteY2" fmla="*/ 216655 h 324722"/>
              <a:gd name="connsiteX3" fmla="*/ 727412 w 835996"/>
              <a:gd name="connsiteY3" fmla="*/ 324722 h 324722"/>
              <a:gd name="connsiteX4" fmla="*/ 97458 w 835996"/>
              <a:gd name="connsiteY4" fmla="*/ 311004 h 324722"/>
              <a:gd name="connsiteX5" fmla="*/ 0 w 835996"/>
              <a:gd name="connsiteY5" fmla="*/ 177223 h 324722"/>
              <a:gd name="connsiteX0" fmla="*/ 0 w 835996"/>
              <a:gd name="connsiteY0" fmla="*/ 4308 h 151807"/>
              <a:gd name="connsiteX1" fmla="*/ 835996 w 835996"/>
              <a:gd name="connsiteY1" fmla="*/ 43740 h 151807"/>
              <a:gd name="connsiteX2" fmla="*/ 727412 w 835996"/>
              <a:gd name="connsiteY2" fmla="*/ 151807 h 151807"/>
              <a:gd name="connsiteX3" fmla="*/ 97458 w 835996"/>
              <a:gd name="connsiteY3" fmla="*/ 138089 h 151807"/>
              <a:gd name="connsiteX4" fmla="*/ 0 w 835996"/>
              <a:gd name="connsiteY4" fmla="*/ 4308 h 151807"/>
              <a:gd name="connsiteX0" fmla="*/ 0 w 835996"/>
              <a:gd name="connsiteY0" fmla="*/ 116594 h 264093"/>
              <a:gd name="connsiteX1" fmla="*/ 835996 w 835996"/>
              <a:gd name="connsiteY1" fmla="*/ 156026 h 264093"/>
              <a:gd name="connsiteX2" fmla="*/ 727412 w 835996"/>
              <a:gd name="connsiteY2" fmla="*/ 264093 h 264093"/>
              <a:gd name="connsiteX3" fmla="*/ 97458 w 835996"/>
              <a:gd name="connsiteY3" fmla="*/ 250375 h 264093"/>
              <a:gd name="connsiteX4" fmla="*/ 0 w 835996"/>
              <a:gd name="connsiteY4" fmla="*/ 116594 h 264093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2361"/>
              <a:gd name="connsiteY0" fmla="*/ 188384 h 300147"/>
              <a:gd name="connsiteX1" fmla="*/ 832361 w 832361"/>
              <a:gd name="connsiteY1" fmla="*/ 192080 h 300147"/>
              <a:gd name="connsiteX2" fmla="*/ 723777 w 832361"/>
              <a:gd name="connsiteY2" fmla="*/ 300147 h 300147"/>
              <a:gd name="connsiteX3" fmla="*/ 93823 w 832361"/>
              <a:gd name="connsiteY3" fmla="*/ 286429 h 300147"/>
              <a:gd name="connsiteX4" fmla="*/ 0 w 832361"/>
              <a:gd name="connsiteY4" fmla="*/ 188384 h 300147"/>
              <a:gd name="connsiteX0" fmla="*/ 0 w 832361"/>
              <a:gd name="connsiteY0" fmla="*/ 196265 h 308028"/>
              <a:gd name="connsiteX1" fmla="*/ 832361 w 832361"/>
              <a:gd name="connsiteY1" fmla="*/ 199961 h 308028"/>
              <a:gd name="connsiteX2" fmla="*/ 723777 w 832361"/>
              <a:gd name="connsiteY2" fmla="*/ 308028 h 308028"/>
              <a:gd name="connsiteX3" fmla="*/ 93823 w 832361"/>
              <a:gd name="connsiteY3" fmla="*/ 294310 h 308028"/>
              <a:gd name="connsiteX4" fmla="*/ 0 w 832361"/>
              <a:gd name="connsiteY4" fmla="*/ 196265 h 308028"/>
              <a:gd name="connsiteX0" fmla="*/ 1 w 875511"/>
              <a:gd name="connsiteY0" fmla="*/ 193025 h 310490"/>
              <a:gd name="connsiteX1" fmla="*/ 875511 w 875511"/>
              <a:gd name="connsiteY1" fmla="*/ 202423 h 310490"/>
              <a:gd name="connsiteX2" fmla="*/ 766927 w 875511"/>
              <a:gd name="connsiteY2" fmla="*/ 310490 h 310490"/>
              <a:gd name="connsiteX3" fmla="*/ 136973 w 875511"/>
              <a:gd name="connsiteY3" fmla="*/ 296772 h 310490"/>
              <a:gd name="connsiteX4" fmla="*/ 1 w 875511"/>
              <a:gd name="connsiteY4" fmla="*/ 193025 h 310490"/>
              <a:gd name="connsiteX0" fmla="*/ -1 w 897051"/>
              <a:gd name="connsiteY0" fmla="*/ 189915 h 307380"/>
              <a:gd name="connsiteX1" fmla="*/ 897052 w 897051"/>
              <a:gd name="connsiteY1" fmla="*/ 204865 h 307380"/>
              <a:gd name="connsiteX2" fmla="*/ 766925 w 897051"/>
              <a:gd name="connsiteY2" fmla="*/ 307380 h 307380"/>
              <a:gd name="connsiteX3" fmla="*/ 136971 w 897051"/>
              <a:gd name="connsiteY3" fmla="*/ 293662 h 307380"/>
              <a:gd name="connsiteX4" fmla="*/ -1 w 897051"/>
              <a:gd name="connsiteY4" fmla="*/ 189915 h 307380"/>
              <a:gd name="connsiteX0" fmla="*/ 1 w 922230"/>
              <a:gd name="connsiteY0" fmla="*/ 188318 h 305783"/>
              <a:gd name="connsiteX1" fmla="*/ 922231 w 922230"/>
              <a:gd name="connsiteY1" fmla="*/ 206145 h 305783"/>
              <a:gd name="connsiteX2" fmla="*/ 766927 w 922230"/>
              <a:gd name="connsiteY2" fmla="*/ 305783 h 305783"/>
              <a:gd name="connsiteX3" fmla="*/ 136973 w 922230"/>
              <a:gd name="connsiteY3" fmla="*/ 292065 h 305783"/>
              <a:gd name="connsiteX4" fmla="*/ 1 w 922230"/>
              <a:gd name="connsiteY4" fmla="*/ 188318 h 305783"/>
              <a:gd name="connsiteX0" fmla="*/ 0 w 922230"/>
              <a:gd name="connsiteY0" fmla="*/ 188317 h 305782"/>
              <a:gd name="connsiteX1" fmla="*/ 922230 w 922230"/>
              <a:gd name="connsiteY1" fmla="*/ 206144 h 305782"/>
              <a:gd name="connsiteX2" fmla="*/ 766926 w 922230"/>
              <a:gd name="connsiteY2" fmla="*/ 305782 h 305782"/>
              <a:gd name="connsiteX3" fmla="*/ 253157 w 922230"/>
              <a:gd name="connsiteY3" fmla="*/ 198499 h 305782"/>
              <a:gd name="connsiteX4" fmla="*/ 0 w 922230"/>
              <a:gd name="connsiteY4" fmla="*/ 188317 h 305782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29158 w 698231"/>
              <a:gd name="connsiteY3" fmla="*/ 219126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0182 w 698231"/>
              <a:gd name="connsiteY3" fmla="*/ 210929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7185 w 698231"/>
              <a:gd name="connsiteY3" fmla="*/ 226517 h 326409"/>
              <a:gd name="connsiteX4" fmla="*/ 0 w 698231"/>
              <a:gd name="connsiteY4" fmla="*/ 165716 h 326409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549240"/>
              <a:gd name="connsiteY0" fmla="*/ 172908 h 250095"/>
              <a:gd name="connsiteX1" fmla="*/ 549240 w 549240"/>
              <a:gd name="connsiteY1" fmla="*/ 219647 h 250095"/>
              <a:gd name="connsiteX2" fmla="*/ 498662 w 549240"/>
              <a:gd name="connsiteY2" fmla="*/ 250095 h 250095"/>
              <a:gd name="connsiteX3" fmla="*/ 47359 w 549240"/>
              <a:gd name="connsiteY3" fmla="*/ 230711 h 250095"/>
              <a:gd name="connsiteX4" fmla="*/ 0 w 549240"/>
              <a:gd name="connsiteY4" fmla="*/ 172908 h 250095"/>
              <a:gd name="connsiteX0" fmla="*/ 0 w 549240"/>
              <a:gd name="connsiteY0" fmla="*/ 105006 h 182193"/>
              <a:gd name="connsiteX1" fmla="*/ 549240 w 549240"/>
              <a:gd name="connsiteY1" fmla="*/ 151745 h 182193"/>
              <a:gd name="connsiteX2" fmla="*/ 498662 w 549240"/>
              <a:gd name="connsiteY2" fmla="*/ 182193 h 182193"/>
              <a:gd name="connsiteX3" fmla="*/ 47359 w 549240"/>
              <a:gd name="connsiteY3" fmla="*/ 162809 h 182193"/>
              <a:gd name="connsiteX4" fmla="*/ 0 w 549240"/>
              <a:gd name="connsiteY4" fmla="*/ 105006 h 182193"/>
              <a:gd name="connsiteX0" fmla="*/ 0 w 549240"/>
              <a:gd name="connsiteY0" fmla="*/ 88412 h 165599"/>
              <a:gd name="connsiteX1" fmla="*/ 549240 w 549240"/>
              <a:gd name="connsiteY1" fmla="*/ 135151 h 165599"/>
              <a:gd name="connsiteX2" fmla="*/ 498662 w 549240"/>
              <a:gd name="connsiteY2" fmla="*/ 165599 h 165599"/>
              <a:gd name="connsiteX3" fmla="*/ 47359 w 549240"/>
              <a:gd name="connsiteY3" fmla="*/ 146215 h 165599"/>
              <a:gd name="connsiteX4" fmla="*/ 0 w 549240"/>
              <a:gd name="connsiteY4" fmla="*/ 88412 h 165599"/>
              <a:gd name="connsiteX0" fmla="*/ 0 w 549240"/>
              <a:gd name="connsiteY0" fmla="*/ 82858 h 160045"/>
              <a:gd name="connsiteX1" fmla="*/ 549240 w 549240"/>
              <a:gd name="connsiteY1" fmla="*/ 129597 h 160045"/>
              <a:gd name="connsiteX2" fmla="*/ 498662 w 549240"/>
              <a:gd name="connsiteY2" fmla="*/ 160045 h 160045"/>
              <a:gd name="connsiteX3" fmla="*/ 47359 w 549240"/>
              <a:gd name="connsiteY3" fmla="*/ 140661 h 160045"/>
              <a:gd name="connsiteX4" fmla="*/ 0 w 549240"/>
              <a:gd name="connsiteY4" fmla="*/ 82858 h 160045"/>
              <a:gd name="connsiteX0" fmla="*/ 0 w 549240"/>
              <a:gd name="connsiteY0" fmla="*/ 85575 h 162762"/>
              <a:gd name="connsiteX1" fmla="*/ 549240 w 549240"/>
              <a:gd name="connsiteY1" fmla="*/ 132314 h 162762"/>
              <a:gd name="connsiteX2" fmla="*/ 498662 w 549240"/>
              <a:gd name="connsiteY2" fmla="*/ 162762 h 162762"/>
              <a:gd name="connsiteX3" fmla="*/ 47359 w 549240"/>
              <a:gd name="connsiteY3" fmla="*/ 143378 h 162762"/>
              <a:gd name="connsiteX4" fmla="*/ 0 w 549240"/>
              <a:gd name="connsiteY4" fmla="*/ 85575 h 162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240" h="162762">
                <a:moveTo>
                  <a:pt x="0" y="85575"/>
                </a:moveTo>
                <a:cubicBezTo>
                  <a:pt x="205997" y="-70038"/>
                  <a:pt x="444725" y="11572"/>
                  <a:pt x="549240" y="132314"/>
                </a:cubicBezTo>
                <a:lnTo>
                  <a:pt x="498662" y="162762"/>
                </a:lnTo>
                <a:cubicBezTo>
                  <a:pt x="459607" y="117457"/>
                  <a:pt x="251795" y="-45508"/>
                  <a:pt x="47359" y="143378"/>
                </a:cubicBezTo>
                <a:cubicBezTo>
                  <a:pt x="16455" y="108514"/>
                  <a:pt x="36448" y="130678"/>
                  <a:pt x="0" y="85575"/>
                </a:cubicBez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8" name="Rectangle 1036">
            <a:extLst>
              <a:ext uri="{FF2B5EF4-FFF2-40B4-BE49-F238E27FC236}">
                <a16:creationId xmlns:a16="http://schemas.microsoft.com/office/drawing/2014/main" id="{ABA424FC-9626-4E18-9C0C-B75BC172E6D2}"/>
              </a:ext>
            </a:extLst>
          </p:cNvPr>
          <p:cNvSpPr/>
          <p:nvPr/>
        </p:nvSpPr>
        <p:spPr>
          <a:xfrm rot="16428065" flipH="1">
            <a:off x="3462255" y="2250631"/>
            <a:ext cx="248082" cy="69573"/>
          </a:xfrm>
          <a:custGeom>
            <a:avLst/>
            <a:gdLst>
              <a:gd name="connsiteX0" fmla="*/ 0 w 647933"/>
              <a:gd name="connsiteY0" fmla="*/ 0 h 162628"/>
              <a:gd name="connsiteX1" fmla="*/ 647933 w 647933"/>
              <a:gd name="connsiteY1" fmla="*/ 0 h 162628"/>
              <a:gd name="connsiteX2" fmla="*/ 647933 w 647933"/>
              <a:gd name="connsiteY2" fmla="*/ 162628 h 162628"/>
              <a:gd name="connsiteX3" fmla="*/ 0 w 647933"/>
              <a:gd name="connsiteY3" fmla="*/ 162628 h 162628"/>
              <a:gd name="connsiteX4" fmla="*/ 0 w 647933"/>
              <a:gd name="connsiteY4" fmla="*/ 0 h 162628"/>
              <a:gd name="connsiteX0" fmla="*/ 0 w 647933"/>
              <a:gd name="connsiteY0" fmla="*/ 0 h 317471"/>
              <a:gd name="connsiteX1" fmla="*/ 647933 w 647933"/>
              <a:gd name="connsiteY1" fmla="*/ 0 h 317471"/>
              <a:gd name="connsiteX2" fmla="*/ 647933 w 647933"/>
              <a:gd name="connsiteY2" fmla="*/ 162628 h 317471"/>
              <a:gd name="connsiteX3" fmla="*/ 14430 w 647933"/>
              <a:gd name="connsiteY3" fmla="*/ 317471 h 317471"/>
              <a:gd name="connsiteX4" fmla="*/ 0 w 647933"/>
              <a:gd name="connsiteY4" fmla="*/ 0 h 317471"/>
              <a:gd name="connsiteX0" fmla="*/ 0 w 730961"/>
              <a:gd name="connsiteY0" fmla="*/ 183690 h 317471"/>
              <a:gd name="connsiteX1" fmla="*/ 730961 w 730961"/>
              <a:gd name="connsiteY1" fmla="*/ 0 h 317471"/>
              <a:gd name="connsiteX2" fmla="*/ 730961 w 730961"/>
              <a:gd name="connsiteY2" fmla="*/ 162628 h 317471"/>
              <a:gd name="connsiteX3" fmla="*/ 97458 w 730961"/>
              <a:gd name="connsiteY3" fmla="*/ 317471 h 317471"/>
              <a:gd name="connsiteX4" fmla="*/ 0 w 730961"/>
              <a:gd name="connsiteY4" fmla="*/ 183690 h 317471"/>
              <a:gd name="connsiteX0" fmla="*/ 0 w 730961"/>
              <a:gd name="connsiteY0" fmla="*/ 183690 h 331189"/>
              <a:gd name="connsiteX1" fmla="*/ 730961 w 730961"/>
              <a:gd name="connsiteY1" fmla="*/ 0 h 331189"/>
              <a:gd name="connsiteX2" fmla="*/ 727412 w 730961"/>
              <a:gd name="connsiteY2" fmla="*/ 331189 h 331189"/>
              <a:gd name="connsiteX3" fmla="*/ 97458 w 730961"/>
              <a:gd name="connsiteY3" fmla="*/ 317471 h 331189"/>
              <a:gd name="connsiteX4" fmla="*/ 0 w 730961"/>
              <a:gd name="connsiteY4" fmla="*/ 183690 h 331189"/>
              <a:gd name="connsiteX0" fmla="*/ 0 w 843966"/>
              <a:gd name="connsiteY0" fmla="*/ 0 h 147499"/>
              <a:gd name="connsiteX1" fmla="*/ 843966 w 843966"/>
              <a:gd name="connsiteY1" fmla="*/ 35539 h 147499"/>
              <a:gd name="connsiteX2" fmla="*/ 727412 w 843966"/>
              <a:gd name="connsiteY2" fmla="*/ 147499 h 147499"/>
              <a:gd name="connsiteX3" fmla="*/ 97458 w 843966"/>
              <a:gd name="connsiteY3" fmla="*/ 133781 h 147499"/>
              <a:gd name="connsiteX4" fmla="*/ 0 w 843966"/>
              <a:gd name="connsiteY4" fmla="*/ 0 h 147499"/>
              <a:gd name="connsiteX0" fmla="*/ 0 w 832066"/>
              <a:gd name="connsiteY0" fmla="*/ 0 h 147499"/>
              <a:gd name="connsiteX1" fmla="*/ 832066 w 832066"/>
              <a:gd name="connsiteY1" fmla="*/ 35429 h 147499"/>
              <a:gd name="connsiteX2" fmla="*/ 727412 w 832066"/>
              <a:gd name="connsiteY2" fmla="*/ 147499 h 147499"/>
              <a:gd name="connsiteX3" fmla="*/ 97458 w 832066"/>
              <a:gd name="connsiteY3" fmla="*/ 133781 h 147499"/>
              <a:gd name="connsiteX4" fmla="*/ 0 w 832066"/>
              <a:gd name="connsiteY4" fmla="*/ 0 h 147499"/>
              <a:gd name="connsiteX0" fmla="*/ 0 w 839962"/>
              <a:gd name="connsiteY0" fmla="*/ 0 h 147499"/>
              <a:gd name="connsiteX1" fmla="*/ 839962 w 839962"/>
              <a:gd name="connsiteY1" fmla="*/ 39469 h 147499"/>
              <a:gd name="connsiteX2" fmla="*/ 727412 w 839962"/>
              <a:gd name="connsiteY2" fmla="*/ 147499 h 147499"/>
              <a:gd name="connsiteX3" fmla="*/ 97458 w 839962"/>
              <a:gd name="connsiteY3" fmla="*/ 133781 h 147499"/>
              <a:gd name="connsiteX4" fmla="*/ 0 w 839962"/>
              <a:gd name="connsiteY4" fmla="*/ 0 h 147499"/>
              <a:gd name="connsiteX0" fmla="*/ 0 w 835996"/>
              <a:gd name="connsiteY0" fmla="*/ 0 h 147499"/>
              <a:gd name="connsiteX1" fmla="*/ 835996 w 835996"/>
              <a:gd name="connsiteY1" fmla="*/ 39432 h 147499"/>
              <a:gd name="connsiteX2" fmla="*/ 727412 w 835996"/>
              <a:gd name="connsiteY2" fmla="*/ 147499 h 147499"/>
              <a:gd name="connsiteX3" fmla="*/ 97458 w 835996"/>
              <a:gd name="connsiteY3" fmla="*/ 133781 h 147499"/>
              <a:gd name="connsiteX4" fmla="*/ 0 w 835996"/>
              <a:gd name="connsiteY4" fmla="*/ 0 h 147499"/>
              <a:gd name="connsiteX0" fmla="*/ 0 w 835996"/>
              <a:gd name="connsiteY0" fmla="*/ 177223 h 324722"/>
              <a:gd name="connsiteX1" fmla="*/ 482524 w 835996"/>
              <a:gd name="connsiteY1" fmla="*/ 239 h 324722"/>
              <a:gd name="connsiteX2" fmla="*/ 835996 w 835996"/>
              <a:gd name="connsiteY2" fmla="*/ 216655 h 324722"/>
              <a:gd name="connsiteX3" fmla="*/ 727412 w 835996"/>
              <a:gd name="connsiteY3" fmla="*/ 324722 h 324722"/>
              <a:gd name="connsiteX4" fmla="*/ 97458 w 835996"/>
              <a:gd name="connsiteY4" fmla="*/ 311004 h 324722"/>
              <a:gd name="connsiteX5" fmla="*/ 0 w 835996"/>
              <a:gd name="connsiteY5" fmla="*/ 177223 h 324722"/>
              <a:gd name="connsiteX0" fmla="*/ 0 w 835996"/>
              <a:gd name="connsiteY0" fmla="*/ 4308 h 151807"/>
              <a:gd name="connsiteX1" fmla="*/ 835996 w 835996"/>
              <a:gd name="connsiteY1" fmla="*/ 43740 h 151807"/>
              <a:gd name="connsiteX2" fmla="*/ 727412 w 835996"/>
              <a:gd name="connsiteY2" fmla="*/ 151807 h 151807"/>
              <a:gd name="connsiteX3" fmla="*/ 97458 w 835996"/>
              <a:gd name="connsiteY3" fmla="*/ 138089 h 151807"/>
              <a:gd name="connsiteX4" fmla="*/ 0 w 835996"/>
              <a:gd name="connsiteY4" fmla="*/ 4308 h 151807"/>
              <a:gd name="connsiteX0" fmla="*/ 0 w 835996"/>
              <a:gd name="connsiteY0" fmla="*/ 116594 h 264093"/>
              <a:gd name="connsiteX1" fmla="*/ 835996 w 835996"/>
              <a:gd name="connsiteY1" fmla="*/ 156026 h 264093"/>
              <a:gd name="connsiteX2" fmla="*/ 727412 w 835996"/>
              <a:gd name="connsiteY2" fmla="*/ 264093 h 264093"/>
              <a:gd name="connsiteX3" fmla="*/ 97458 w 835996"/>
              <a:gd name="connsiteY3" fmla="*/ 250375 h 264093"/>
              <a:gd name="connsiteX4" fmla="*/ 0 w 835996"/>
              <a:gd name="connsiteY4" fmla="*/ 116594 h 264093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2361"/>
              <a:gd name="connsiteY0" fmla="*/ 188384 h 300147"/>
              <a:gd name="connsiteX1" fmla="*/ 832361 w 832361"/>
              <a:gd name="connsiteY1" fmla="*/ 192080 h 300147"/>
              <a:gd name="connsiteX2" fmla="*/ 723777 w 832361"/>
              <a:gd name="connsiteY2" fmla="*/ 300147 h 300147"/>
              <a:gd name="connsiteX3" fmla="*/ 93823 w 832361"/>
              <a:gd name="connsiteY3" fmla="*/ 286429 h 300147"/>
              <a:gd name="connsiteX4" fmla="*/ 0 w 832361"/>
              <a:gd name="connsiteY4" fmla="*/ 188384 h 300147"/>
              <a:gd name="connsiteX0" fmla="*/ 0 w 832361"/>
              <a:gd name="connsiteY0" fmla="*/ 196265 h 308028"/>
              <a:gd name="connsiteX1" fmla="*/ 832361 w 832361"/>
              <a:gd name="connsiteY1" fmla="*/ 199961 h 308028"/>
              <a:gd name="connsiteX2" fmla="*/ 723777 w 832361"/>
              <a:gd name="connsiteY2" fmla="*/ 308028 h 308028"/>
              <a:gd name="connsiteX3" fmla="*/ 93823 w 832361"/>
              <a:gd name="connsiteY3" fmla="*/ 294310 h 308028"/>
              <a:gd name="connsiteX4" fmla="*/ 0 w 832361"/>
              <a:gd name="connsiteY4" fmla="*/ 196265 h 308028"/>
              <a:gd name="connsiteX0" fmla="*/ 1 w 875511"/>
              <a:gd name="connsiteY0" fmla="*/ 193025 h 310490"/>
              <a:gd name="connsiteX1" fmla="*/ 875511 w 875511"/>
              <a:gd name="connsiteY1" fmla="*/ 202423 h 310490"/>
              <a:gd name="connsiteX2" fmla="*/ 766927 w 875511"/>
              <a:gd name="connsiteY2" fmla="*/ 310490 h 310490"/>
              <a:gd name="connsiteX3" fmla="*/ 136973 w 875511"/>
              <a:gd name="connsiteY3" fmla="*/ 296772 h 310490"/>
              <a:gd name="connsiteX4" fmla="*/ 1 w 875511"/>
              <a:gd name="connsiteY4" fmla="*/ 193025 h 310490"/>
              <a:gd name="connsiteX0" fmla="*/ -1 w 897051"/>
              <a:gd name="connsiteY0" fmla="*/ 189915 h 307380"/>
              <a:gd name="connsiteX1" fmla="*/ 897052 w 897051"/>
              <a:gd name="connsiteY1" fmla="*/ 204865 h 307380"/>
              <a:gd name="connsiteX2" fmla="*/ 766925 w 897051"/>
              <a:gd name="connsiteY2" fmla="*/ 307380 h 307380"/>
              <a:gd name="connsiteX3" fmla="*/ 136971 w 897051"/>
              <a:gd name="connsiteY3" fmla="*/ 293662 h 307380"/>
              <a:gd name="connsiteX4" fmla="*/ -1 w 897051"/>
              <a:gd name="connsiteY4" fmla="*/ 189915 h 307380"/>
              <a:gd name="connsiteX0" fmla="*/ 1 w 922230"/>
              <a:gd name="connsiteY0" fmla="*/ 188318 h 305783"/>
              <a:gd name="connsiteX1" fmla="*/ 922231 w 922230"/>
              <a:gd name="connsiteY1" fmla="*/ 206145 h 305783"/>
              <a:gd name="connsiteX2" fmla="*/ 766927 w 922230"/>
              <a:gd name="connsiteY2" fmla="*/ 305783 h 305783"/>
              <a:gd name="connsiteX3" fmla="*/ 136973 w 922230"/>
              <a:gd name="connsiteY3" fmla="*/ 292065 h 305783"/>
              <a:gd name="connsiteX4" fmla="*/ 1 w 922230"/>
              <a:gd name="connsiteY4" fmla="*/ 188318 h 305783"/>
              <a:gd name="connsiteX0" fmla="*/ 0 w 922230"/>
              <a:gd name="connsiteY0" fmla="*/ 188317 h 305782"/>
              <a:gd name="connsiteX1" fmla="*/ 922230 w 922230"/>
              <a:gd name="connsiteY1" fmla="*/ 206144 h 305782"/>
              <a:gd name="connsiteX2" fmla="*/ 766926 w 922230"/>
              <a:gd name="connsiteY2" fmla="*/ 305782 h 305782"/>
              <a:gd name="connsiteX3" fmla="*/ 253157 w 922230"/>
              <a:gd name="connsiteY3" fmla="*/ 198499 h 305782"/>
              <a:gd name="connsiteX4" fmla="*/ 0 w 922230"/>
              <a:gd name="connsiteY4" fmla="*/ 188317 h 305782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29158 w 698231"/>
              <a:gd name="connsiteY3" fmla="*/ 219126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0182 w 698231"/>
              <a:gd name="connsiteY3" fmla="*/ 210929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7185 w 698231"/>
              <a:gd name="connsiteY3" fmla="*/ 226517 h 326409"/>
              <a:gd name="connsiteX4" fmla="*/ 0 w 698231"/>
              <a:gd name="connsiteY4" fmla="*/ 165716 h 326409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549240"/>
              <a:gd name="connsiteY0" fmla="*/ 172908 h 250095"/>
              <a:gd name="connsiteX1" fmla="*/ 549240 w 549240"/>
              <a:gd name="connsiteY1" fmla="*/ 219647 h 250095"/>
              <a:gd name="connsiteX2" fmla="*/ 498662 w 549240"/>
              <a:gd name="connsiteY2" fmla="*/ 250095 h 250095"/>
              <a:gd name="connsiteX3" fmla="*/ 47359 w 549240"/>
              <a:gd name="connsiteY3" fmla="*/ 230711 h 250095"/>
              <a:gd name="connsiteX4" fmla="*/ 0 w 549240"/>
              <a:gd name="connsiteY4" fmla="*/ 172908 h 250095"/>
              <a:gd name="connsiteX0" fmla="*/ 0 w 549240"/>
              <a:gd name="connsiteY0" fmla="*/ 105006 h 182193"/>
              <a:gd name="connsiteX1" fmla="*/ 549240 w 549240"/>
              <a:gd name="connsiteY1" fmla="*/ 151745 h 182193"/>
              <a:gd name="connsiteX2" fmla="*/ 498662 w 549240"/>
              <a:gd name="connsiteY2" fmla="*/ 182193 h 182193"/>
              <a:gd name="connsiteX3" fmla="*/ 47359 w 549240"/>
              <a:gd name="connsiteY3" fmla="*/ 162809 h 182193"/>
              <a:gd name="connsiteX4" fmla="*/ 0 w 549240"/>
              <a:gd name="connsiteY4" fmla="*/ 105006 h 182193"/>
              <a:gd name="connsiteX0" fmla="*/ 0 w 549240"/>
              <a:gd name="connsiteY0" fmla="*/ 88412 h 165599"/>
              <a:gd name="connsiteX1" fmla="*/ 549240 w 549240"/>
              <a:gd name="connsiteY1" fmla="*/ 135151 h 165599"/>
              <a:gd name="connsiteX2" fmla="*/ 498662 w 549240"/>
              <a:gd name="connsiteY2" fmla="*/ 165599 h 165599"/>
              <a:gd name="connsiteX3" fmla="*/ 47359 w 549240"/>
              <a:gd name="connsiteY3" fmla="*/ 146215 h 165599"/>
              <a:gd name="connsiteX4" fmla="*/ 0 w 549240"/>
              <a:gd name="connsiteY4" fmla="*/ 88412 h 165599"/>
              <a:gd name="connsiteX0" fmla="*/ 0 w 549240"/>
              <a:gd name="connsiteY0" fmla="*/ 82858 h 160045"/>
              <a:gd name="connsiteX1" fmla="*/ 549240 w 549240"/>
              <a:gd name="connsiteY1" fmla="*/ 129597 h 160045"/>
              <a:gd name="connsiteX2" fmla="*/ 498662 w 549240"/>
              <a:gd name="connsiteY2" fmla="*/ 160045 h 160045"/>
              <a:gd name="connsiteX3" fmla="*/ 47359 w 549240"/>
              <a:gd name="connsiteY3" fmla="*/ 140661 h 160045"/>
              <a:gd name="connsiteX4" fmla="*/ 0 w 549240"/>
              <a:gd name="connsiteY4" fmla="*/ 82858 h 160045"/>
              <a:gd name="connsiteX0" fmla="*/ 0 w 549240"/>
              <a:gd name="connsiteY0" fmla="*/ 85575 h 162762"/>
              <a:gd name="connsiteX1" fmla="*/ 549240 w 549240"/>
              <a:gd name="connsiteY1" fmla="*/ 132314 h 162762"/>
              <a:gd name="connsiteX2" fmla="*/ 498662 w 549240"/>
              <a:gd name="connsiteY2" fmla="*/ 162762 h 162762"/>
              <a:gd name="connsiteX3" fmla="*/ 47359 w 549240"/>
              <a:gd name="connsiteY3" fmla="*/ 143378 h 162762"/>
              <a:gd name="connsiteX4" fmla="*/ 0 w 549240"/>
              <a:gd name="connsiteY4" fmla="*/ 85575 h 162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240" h="162762">
                <a:moveTo>
                  <a:pt x="0" y="85575"/>
                </a:moveTo>
                <a:cubicBezTo>
                  <a:pt x="205997" y="-70038"/>
                  <a:pt x="444725" y="11572"/>
                  <a:pt x="549240" y="132314"/>
                </a:cubicBezTo>
                <a:lnTo>
                  <a:pt x="498662" y="162762"/>
                </a:lnTo>
                <a:cubicBezTo>
                  <a:pt x="459607" y="117457"/>
                  <a:pt x="251795" y="-45508"/>
                  <a:pt x="47359" y="143378"/>
                </a:cubicBezTo>
                <a:cubicBezTo>
                  <a:pt x="16455" y="108514"/>
                  <a:pt x="36448" y="130678"/>
                  <a:pt x="0" y="85575"/>
                </a:cubicBez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9" name="Rectangle 1036">
            <a:extLst>
              <a:ext uri="{FF2B5EF4-FFF2-40B4-BE49-F238E27FC236}">
                <a16:creationId xmlns:a16="http://schemas.microsoft.com/office/drawing/2014/main" id="{ABCBA7B0-235F-4F24-ACE7-5B38FCD8003D}"/>
              </a:ext>
            </a:extLst>
          </p:cNvPr>
          <p:cNvSpPr/>
          <p:nvPr/>
        </p:nvSpPr>
        <p:spPr>
          <a:xfrm rot="16428065" flipH="1">
            <a:off x="3543655" y="2251676"/>
            <a:ext cx="177514" cy="61864"/>
          </a:xfrm>
          <a:custGeom>
            <a:avLst/>
            <a:gdLst>
              <a:gd name="connsiteX0" fmla="*/ 0 w 647933"/>
              <a:gd name="connsiteY0" fmla="*/ 0 h 162628"/>
              <a:gd name="connsiteX1" fmla="*/ 647933 w 647933"/>
              <a:gd name="connsiteY1" fmla="*/ 0 h 162628"/>
              <a:gd name="connsiteX2" fmla="*/ 647933 w 647933"/>
              <a:gd name="connsiteY2" fmla="*/ 162628 h 162628"/>
              <a:gd name="connsiteX3" fmla="*/ 0 w 647933"/>
              <a:gd name="connsiteY3" fmla="*/ 162628 h 162628"/>
              <a:gd name="connsiteX4" fmla="*/ 0 w 647933"/>
              <a:gd name="connsiteY4" fmla="*/ 0 h 162628"/>
              <a:gd name="connsiteX0" fmla="*/ 0 w 647933"/>
              <a:gd name="connsiteY0" fmla="*/ 0 h 317471"/>
              <a:gd name="connsiteX1" fmla="*/ 647933 w 647933"/>
              <a:gd name="connsiteY1" fmla="*/ 0 h 317471"/>
              <a:gd name="connsiteX2" fmla="*/ 647933 w 647933"/>
              <a:gd name="connsiteY2" fmla="*/ 162628 h 317471"/>
              <a:gd name="connsiteX3" fmla="*/ 14430 w 647933"/>
              <a:gd name="connsiteY3" fmla="*/ 317471 h 317471"/>
              <a:gd name="connsiteX4" fmla="*/ 0 w 647933"/>
              <a:gd name="connsiteY4" fmla="*/ 0 h 317471"/>
              <a:gd name="connsiteX0" fmla="*/ 0 w 730961"/>
              <a:gd name="connsiteY0" fmla="*/ 183690 h 317471"/>
              <a:gd name="connsiteX1" fmla="*/ 730961 w 730961"/>
              <a:gd name="connsiteY1" fmla="*/ 0 h 317471"/>
              <a:gd name="connsiteX2" fmla="*/ 730961 w 730961"/>
              <a:gd name="connsiteY2" fmla="*/ 162628 h 317471"/>
              <a:gd name="connsiteX3" fmla="*/ 97458 w 730961"/>
              <a:gd name="connsiteY3" fmla="*/ 317471 h 317471"/>
              <a:gd name="connsiteX4" fmla="*/ 0 w 730961"/>
              <a:gd name="connsiteY4" fmla="*/ 183690 h 317471"/>
              <a:gd name="connsiteX0" fmla="*/ 0 w 730961"/>
              <a:gd name="connsiteY0" fmla="*/ 183690 h 331189"/>
              <a:gd name="connsiteX1" fmla="*/ 730961 w 730961"/>
              <a:gd name="connsiteY1" fmla="*/ 0 h 331189"/>
              <a:gd name="connsiteX2" fmla="*/ 727412 w 730961"/>
              <a:gd name="connsiteY2" fmla="*/ 331189 h 331189"/>
              <a:gd name="connsiteX3" fmla="*/ 97458 w 730961"/>
              <a:gd name="connsiteY3" fmla="*/ 317471 h 331189"/>
              <a:gd name="connsiteX4" fmla="*/ 0 w 730961"/>
              <a:gd name="connsiteY4" fmla="*/ 183690 h 331189"/>
              <a:gd name="connsiteX0" fmla="*/ 0 w 843966"/>
              <a:gd name="connsiteY0" fmla="*/ 0 h 147499"/>
              <a:gd name="connsiteX1" fmla="*/ 843966 w 843966"/>
              <a:gd name="connsiteY1" fmla="*/ 35539 h 147499"/>
              <a:gd name="connsiteX2" fmla="*/ 727412 w 843966"/>
              <a:gd name="connsiteY2" fmla="*/ 147499 h 147499"/>
              <a:gd name="connsiteX3" fmla="*/ 97458 w 843966"/>
              <a:gd name="connsiteY3" fmla="*/ 133781 h 147499"/>
              <a:gd name="connsiteX4" fmla="*/ 0 w 843966"/>
              <a:gd name="connsiteY4" fmla="*/ 0 h 147499"/>
              <a:gd name="connsiteX0" fmla="*/ 0 w 832066"/>
              <a:gd name="connsiteY0" fmla="*/ 0 h 147499"/>
              <a:gd name="connsiteX1" fmla="*/ 832066 w 832066"/>
              <a:gd name="connsiteY1" fmla="*/ 35429 h 147499"/>
              <a:gd name="connsiteX2" fmla="*/ 727412 w 832066"/>
              <a:gd name="connsiteY2" fmla="*/ 147499 h 147499"/>
              <a:gd name="connsiteX3" fmla="*/ 97458 w 832066"/>
              <a:gd name="connsiteY3" fmla="*/ 133781 h 147499"/>
              <a:gd name="connsiteX4" fmla="*/ 0 w 832066"/>
              <a:gd name="connsiteY4" fmla="*/ 0 h 147499"/>
              <a:gd name="connsiteX0" fmla="*/ 0 w 839962"/>
              <a:gd name="connsiteY0" fmla="*/ 0 h 147499"/>
              <a:gd name="connsiteX1" fmla="*/ 839962 w 839962"/>
              <a:gd name="connsiteY1" fmla="*/ 39469 h 147499"/>
              <a:gd name="connsiteX2" fmla="*/ 727412 w 839962"/>
              <a:gd name="connsiteY2" fmla="*/ 147499 h 147499"/>
              <a:gd name="connsiteX3" fmla="*/ 97458 w 839962"/>
              <a:gd name="connsiteY3" fmla="*/ 133781 h 147499"/>
              <a:gd name="connsiteX4" fmla="*/ 0 w 839962"/>
              <a:gd name="connsiteY4" fmla="*/ 0 h 147499"/>
              <a:gd name="connsiteX0" fmla="*/ 0 w 835996"/>
              <a:gd name="connsiteY0" fmla="*/ 0 h 147499"/>
              <a:gd name="connsiteX1" fmla="*/ 835996 w 835996"/>
              <a:gd name="connsiteY1" fmla="*/ 39432 h 147499"/>
              <a:gd name="connsiteX2" fmla="*/ 727412 w 835996"/>
              <a:gd name="connsiteY2" fmla="*/ 147499 h 147499"/>
              <a:gd name="connsiteX3" fmla="*/ 97458 w 835996"/>
              <a:gd name="connsiteY3" fmla="*/ 133781 h 147499"/>
              <a:gd name="connsiteX4" fmla="*/ 0 w 835996"/>
              <a:gd name="connsiteY4" fmla="*/ 0 h 147499"/>
              <a:gd name="connsiteX0" fmla="*/ 0 w 835996"/>
              <a:gd name="connsiteY0" fmla="*/ 177223 h 324722"/>
              <a:gd name="connsiteX1" fmla="*/ 482524 w 835996"/>
              <a:gd name="connsiteY1" fmla="*/ 239 h 324722"/>
              <a:gd name="connsiteX2" fmla="*/ 835996 w 835996"/>
              <a:gd name="connsiteY2" fmla="*/ 216655 h 324722"/>
              <a:gd name="connsiteX3" fmla="*/ 727412 w 835996"/>
              <a:gd name="connsiteY3" fmla="*/ 324722 h 324722"/>
              <a:gd name="connsiteX4" fmla="*/ 97458 w 835996"/>
              <a:gd name="connsiteY4" fmla="*/ 311004 h 324722"/>
              <a:gd name="connsiteX5" fmla="*/ 0 w 835996"/>
              <a:gd name="connsiteY5" fmla="*/ 177223 h 324722"/>
              <a:gd name="connsiteX0" fmla="*/ 0 w 835996"/>
              <a:gd name="connsiteY0" fmla="*/ 4308 h 151807"/>
              <a:gd name="connsiteX1" fmla="*/ 835996 w 835996"/>
              <a:gd name="connsiteY1" fmla="*/ 43740 h 151807"/>
              <a:gd name="connsiteX2" fmla="*/ 727412 w 835996"/>
              <a:gd name="connsiteY2" fmla="*/ 151807 h 151807"/>
              <a:gd name="connsiteX3" fmla="*/ 97458 w 835996"/>
              <a:gd name="connsiteY3" fmla="*/ 138089 h 151807"/>
              <a:gd name="connsiteX4" fmla="*/ 0 w 835996"/>
              <a:gd name="connsiteY4" fmla="*/ 4308 h 151807"/>
              <a:gd name="connsiteX0" fmla="*/ 0 w 835996"/>
              <a:gd name="connsiteY0" fmla="*/ 116594 h 264093"/>
              <a:gd name="connsiteX1" fmla="*/ 835996 w 835996"/>
              <a:gd name="connsiteY1" fmla="*/ 156026 h 264093"/>
              <a:gd name="connsiteX2" fmla="*/ 727412 w 835996"/>
              <a:gd name="connsiteY2" fmla="*/ 264093 h 264093"/>
              <a:gd name="connsiteX3" fmla="*/ 97458 w 835996"/>
              <a:gd name="connsiteY3" fmla="*/ 250375 h 264093"/>
              <a:gd name="connsiteX4" fmla="*/ 0 w 835996"/>
              <a:gd name="connsiteY4" fmla="*/ 116594 h 264093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5996"/>
              <a:gd name="connsiteY0" fmla="*/ 168139 h 315638"/>
              <a:gd name="connsiteX1" fmla="*/ 835996 w 835996"/>
              <a:gd name="connsiteY1" fmla="*/ 207571 h 315638"/>
              <a:gd name="connsiteX2" fmla="*/ 727412 w 835996"/>
              <a:gd name="connsiteY2" fmla="*/ 315638 h 315638"/>
              <a:gd name="connsiteX3" fmla="*/ 97458 w 835996"/>
              <a:gd name="connsiteY3" fmla="*/ 301920 h 315638"/>
              <a:gd name="connsiteX4" fmla="*/ 0 w 835996"/>
              <a:gd name="connsiteY4" fmla="*/ 168139 h 315638"/>
              <a:gd name="connsiteX0" fmla="*/ 0 w 832361"/>
              <a:gd name="connsiteY0" fmla="*/ 188384 h 300147"/>
              <a:gd name="connsiteX1" fmla="*/ 832361 w 832361"/>
              <a:gd name="connsiteY1" fmla="*/ 192080 h 300147"/>
              <a:gd name="connsiteX2" fmla="*/ 723777 w 832361"/>
              <a:gd name="connsiteY2" fmla="*/ 300147 h 300147"/>
              <a:gd name="connsiteX3" fmla="*/ 93823 w 832361"/>
              <a:gd name="connsiteY3" fmla="*/ 286429 h 300147"/>
              <a:gd name="connsiteX4" fmla="*/ 0 w 832361"/>
              <a:gd name="connsiteY4" fmla="*/ 188384 h 300147"/>
              <a:gd name="connsiteX0" fmla="*/ 0 w 832361"/>
              <a:gd name="connsiteY0" fmla="*/ 196265 h 308028"/>
              <a:gd name="connsiteX1" fmla="*/ 832361 w 832361"/>
              <a:gd name="connsiteY1" fmla="*/ 199961 h 308028"/>
              <a:gd name="connsiteX2" fmla="*/ 723777 w 832361"/>
              <a:gd name="connsiteY2" fmla="*/ 308028 h 308028"/>
              <a:gd name="connsiteX3" fmla="*/ 93823 w 832361"/>
              <a:gd name="connsiteY3" fmla="*/ 294310 h 308028"/>
              <a:gd name="connsiteX4" fmla="*/ 0 w 832361"/>
              <a:gd name="connsiteY4" fmla="*/ 196265 h 308028"/>
              <a:gd name="connsiteX0" fmla="*/ 1 w 875511"/>
              <a:gd name="connsiteY0" fmla="*/ 193025 h 310490"/>
              <a:gd name="connsiteX1" fmla="*/ 875511 w 875511"/>
              <a:gd name="connsiteY1" fmla="*/ 202423 h 310490"/>
              <a:gd name="connsiteX2" fmla="*/ 766927 w 875511"/>
              <a:gd name="connsiteY2" fmla="*/ 310490 h 310490"/>
              <a:gd name="connsiteX3" fmla="*/ 136973 w 875511"/>
              <a:gd name="connsiteY3" fmla="*/ 296772 h 310490"/>
              <a:gd name="connsiteX4" fmla="*/ 1 w 875511"/>
              <a:gd name="connsiteY4" fmla="*/ 193025 h 310490"/>
              <a:gd name="connsiteX0" fmla="*/ -1 w 897051"/>
              <a:gd name="connsiteY0" fmla="*/ 189915 h 307380"/>
              <a:gd name="connsiteX1" fmla="*/ 897052 w 897051"/>
              <a:gd name="connsiteY1" fmla="*/ 204865 h 307380"/>
              <a:gd name="connsiteX2" fmla="*/ 766925 w 897051"/>
              <a:gd name="connsiteY2" fmla="*/ 307380 h 307380"/>
              <a:gd name="connsiteX3" fmla="*/ 136971 w 897051"/>
              <a:gd name="connsiteY3" fmla="*/ 293662 h 307380"/>
              <a:gd name="connsiteX4" fmla="*/ -1 w 897051"/>
              <a:gd name="connsiteY4" fmla="*/ 189915 h 307380"/>
              <a:gd name="connsiteX0" fmla="*/ 1 w 922230"/>
              <a:gd name="connsiteY0" fmla="*/ 188318 h 305783"/>
              <a:gd name="connsiteX1" fmla="*/ 922231 w 922230"/>
              <a:gd name="connsiteY1" fmla="*/ 206145 h 305783"/>
              <a:gd name="connsiteX2" fmla="*/ 766927 w 922230"/>
              <a:gd name="connsiteY2" fmla="*/ 305783 h 305783"/>
              <a:gd name="connsiteX3" fmla="*/ 136973 w 922230"/>
              <a:gd name="connsiteY3" fmla="*/ 292065 h 305783"/>
              <a:gd name="connsiteX4" fmla="*/ 1 w 922230"/>
              <a:gd name="connsiteY4" fmla="*/ 188318 h 305783"/>
              <a:gd name="connsiteX0" fmla="*/ 0 w 922230"/>
              <a:gd name="connsiteY0" fmla="*/ 188317 h 305782"/>
              <a:gd name="connsiteX1" fmla="*/ 922230 w 922230"/>
              <a:gd name="connsiteY1" fmla="*/ 206144 h 305782"/>
              <a:gd name="connsiteX2" fmla="*/ 766926 w 922230"/>
              <a:gd name="connsiteY2" fmla="*/ 305782 h 305782"/>
              <a:gd name="connsiteX3" fmla="*/ 253157 w 922230"/>
              <a:gd name="connsiteY3" fmla="*/ 198499 h 305782"/>
              <a:gd name="connsiteX4" fmla="*/ 0 w 922230"/>
              <a:gd name="connsiteY4" fmla="*/ 188317 h 305782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29158 w 698231"/>
              <a:gd name="connsiteY3" fmla="*/ 219126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0182 w 698231"/>
              <a:gd name="connsiteY3" fmla="*/ 210929 h 326409"/>
              <a:gd name="connsiteX4" fmla="*/ 0 w 698231"/>
              <a:gd name="connsiteY4" fmla="*/ 165716 h 326409"/>
              <a:gd name="connsiteX0" fmla="*/ 0 w 698231"/>
              <a:gd name="connsiteY0" fmla="*/ 165716 h 326409"/>
              <a:gd name="connsiteX1" fmla="*/ 698231 w 698231"/>
              <a:gd name="connsiteY1" fmla="*/ 226771 h 326409"/>
              <a:gd name="connsiteX2" fmla="*/ 542927 w 698231"/>
              <a:gd name="connsiteY2" fmla="*/ 326409 h 326409"/>
              <a:gd name="connsiteX3" fmla="*/ 47185 w 698231"/>
              <a:gd name="connsiteY3" fmla="*/ 226517 h 326409"/>
              <a:gd name="connsiteX4" fmla="*/ 0 w 698231"/>
              <a:gd name="connsiteY4" fmla="*/ 165716 h 326409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324894"/>
              <a:gd name="connsiteX1" fmla="*/ 698405 w 698405"/>
              <a:gd name="connsiteY1" fmla="*/ 225256 h 324894"/>
              <a:gd name="connsiteX2" fmla="*/ 543101 w 698405"/>
              <a:gd name="connsiteY2" fmla="*/ 324894 h 324894"/>
              <a:gd name="connsiteX3" fmla="*/ 47359 w 698405"/>
              <a:gd name="connsiteY3" fmla="*/ 225002 h 324894"/>
              <a:gd name="connsiteX4" fmla="*/ 0 w 698405"/>
              <a:gd name="connsiteY4" fmla="*/ 167199 h 324894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698405"/>
              <a:gd name="connsiteY0" fmla="*/ 167199 h 244386"/>
              <a:gd name="connsiteX1" fmla="*/ 698405 w 698405"/>
              <a:gd name="connsiteY1" fmla="*/ 225256 h 244386"/>
              <a:gd name="connsiteX2" fmla="*/ 498662 w 698405"/>
              <a:gd name="connsiteY2" fmla="*/ 244386 h 244386"/>
              <a:gd name="connsiteX3" fmla="*/ 47359 w 698405"/>
              <a:gd name="connsiteY3" fmla="*/ 225002 h 244386"/>
              <a:gd name="connsiteX4" fmla="*/ 0 w 698405"/>
              <a:gd name="connsiteY4" fmla="*/ 167199 h 244386"/>
              <a:gd name="connsiteX0" fmla="*/ 0 w 549240"/>
              <a:gd name="connsiteY0" fmla="*/ 172908 h 250095"/>
              <a:gd name="connsiteX1" fmla="*/ 549240 w 549240"/>
              <a:gd name="connsiteY1" fmla="*/ 219647 h 250095"/>
              <a:gd name="connsiteX2" fmla="*/ 498662 w 549240"/>
              <a:gd name="connsiteY2" fmla="*/ 250095 h 250095"/>
              <a:gd name="connsiteX3" fmla="*/ 47359 w 549240"/>
              <a:gd name="connsiteY3" fmla="*/ 230711 h 250095"/>
              <a:gd name="connsiteX4" fmla="*/ 0 w 549240"/>
              <a:gd name="connsiteY4" fmla="*/ 172908 h 250095"/>
              <a:gd name="connsiteX0" fmla="*/ 0 w 549240"/>
              <a:gd name="connsiteY0" fmla="*/ 105006 h 182193"/>
              <a:gd name="connsiteX1" fmla="*/ 549240 w 549240"/>
              <a:gd name="connsiteY1" fmla="*/ 151745 h 182193"/>
              <a:gd name="connsiteX2" fmla="*/ 498662 w 549240"/>
              <a:gd name="connsiteY2" fmla="*/ 182193 h 182193"/>
              <a:gd name="connsiteX3" fmla="*/ 47359 w 549240"/>
              <a:gd name="connsiteY3" fmla="*/ 162809 h 182193"/>
              <a:gd name="connsiteX4" fmla="*/ 0 w 549240"/>
              <a:gd name="connsiteY4" fmla="*/ 105006 h 182193"/>
              <a:gd name="connsiteX0" fmla="*/ 0 w 549240"/>
              <a:gd name="connsiteY0" fmla="*/ 88412 h 165599"/>
              <a:gd name="connsiteX1" fmla="*/ 549240 w 549240"/>
              <a:gd name="connsiteY1" fmla="*/ 135151 h 165599"/>
              <a:gd name="connsiteX2" fmla="*/ 498662 w 549240"/>
              <a:gd name="connsiteY2" fmla="*/ 165599 h 165599"/>
              <a:gd name="connsiteX3" fmla="*/ 47359 w 549240"/>
              <a:gd name="connsiteY3" fmla="*/ 146215 h 165599"/>
              <a:gd name="connsiteX4" fmla="*/ 0 w 549240"/>
              <a:gd name="connsiteY4" fmla="*/ 88412 h 165599"/>
              <a:gd name="connsiteX0" fmla="*/ 0 w 549240"/>
              <a:gd name="connsiteY0" fmla="*/ 82858 h 160045"/>
              <a:gd name="connsiteX1" fmla="*/ 549240 w 549240"/>
              <a:gd name="connsiteY1" fmla="*/ 129597 h 160045"/>
              <a:gd name="connsiteX2" fmla="*/ 498662 w 549240"/>
              <a:gd name="connsiteY2" fmla="*/ 160045 h 160045"/>
              <a:gd name="connsiteX3" fmla="*/ 47359 w 549240"/>
              <a:gd name="connsiteY3" fmla="*/ 140661 h 160045"/>
              <a:gd name="connsiteX4" fmla="*/ 0 w 549240"/>
              <a:gd name="connsiteY4" fmla="*/ 82858 h 160045"/>
              <a:gd name="connsiteX0" fmla="*/ 0 w 549240"/>
              <a:gd name="connsiteY0" fmla="*/ 85575 h 162762"/>
              <a:gd name="connsiteX1" fmla="*/ 549240 w 549240"/>
              <a:gd name="connsiteY1" fmla="*/ 132314 h 162762"/>
              <a:gd name="connsiteX2" fmla="*/ 498662 w 549240"/>
              <a:gd name="connsiteY2" fmla="*/ 162762 h 162762"/>
              <a:gd name="connsiteX3" fmla="*/ 47359 w 549240"/>
              <a:gd name="connsiteY3" fmla="*/ 143378 h 162762"/>
              <a:gd name="connsiteX4" fmla="*/ 0 w 549240"/>
              <a:gd name="connsiteY4" fmla="*/ 85575 h 162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240" h="162762">
                <a:moveTo>
                  <a:pt x="0" y="85575"/>
                </a:moveTo>
                <a:cubicBezTo>
                  <a:pt x="205997" y="-70038"/>
                  <a:pt x="444725" y="11572"/>
                  <a:pt x="549240" y="132314"/>
                </a:cubicBezTo>
                <a:lnTo>
                  <a:pt x="498662" y="162762"/>
                </a:lnTo>
                <a:cubicBezTo>
                  <a:pt x="459607" y="117457"/>
                  <a:pt x="251795" y="-45508"/>
                  <a:pt x="47359" y="143378"/>
                </a:cubicBezTo>
                <a:cubicBezTo>
                  <a:pt x="16455" y="108514"/>
                  <a:pt x="36448" y="130678"/>
                  <a:pt x="0" y="85575"/>
                </a:cubicBezTo>
                <a:close/>
              </a:path>
            </a:pathLst>
          </a:custGeom>
          <a:solidFill>
            <a:srgbClr val="9494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F5D7D5B-22C8-48A9-8504-55E3DA4C4EC7}"/>
              </a:ext>
            </a:extLst>
          </p:cNvPr>
          <p:cNvGrpSpPr/>
          <p:nvPr/>
        </p:nvGrpSpPr>
        <p:grpSpPr>
          <a:xfrm>
            <a:off x="7673048" y="1712631"/>
            <a:ext cx="1372584" cy="1317772"/>
            <a:chOff x="7673048" y="1712631"/>
            <a:chExt cx="1372584" cy="1317772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1FC2A890-8BE6-43A5-A469-6DD9E24227FE}"/>
                </a:ext>
              </a:extLst>
            </p:cNvPr>
            <p:cNvGrpSpPr/>
            <p:nvPr/>
          </p:nvGrpSpPr>
          <p:grpSpPr>
            <a:xfrm>
              <a:off x="7673048" y="1712631"/>
              <a:ext cx="1372584" cy="1317772"/>
              <a:chOff x="12136921" y="816463"/>
              <a:chExt cx="1372584" cy="1317772"/>
            </a:xfrm>
          </p:grpSpPr>
          <p:sp>
            <p:nvSpPr>
              <p:cNvPr id="106" name="Freeform 40">
                <a:extLst>
                  <a:ext uri="{FF2B5EF4-FFF2-40B4-BE49-F238E27FC236}">
                    <a16:creationId xmlns:a16="http://schemas.microsoft.com/office/drawing/2014/main" id="{840C6CD1-D3E9-449B-8736-32F963526B10}"/>
                  </a:ext>
                </a:extLst>
              </p:cNvPr>
              <p:cNvSpPr/>
              <p:nvPr/>
            </p:nvSpPr>
            <p:spPr>
              <a:xfrm flipV="1">
                <a:off x="12136921" y="816463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rgbClr val="0071CE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Freeform 52">
                <a:extLst>
                  <a:ext uri="{FF2B5EF4-FFF2-40B4-BE49-F238E27FC236}">
                    <a16:creationId xmlns:a16="http://schemas.microsoft.com/office/drawing/2014/main" id="{FCA9617F-7F40-4989-902A-58FCE45FE21F}"/>
                  </a:ext>
                </a:extLst>
              </p:cNvPr>
              <p:cNvSpPr/>
              <p:nvPr/>
            </p:nvSpPr>
            <p:spPr>
              <a:xfrm>
                <a:off x="12236011" y="902791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3089" name="Picture 17" descr="Image result for icon webcast">
              <a:extLst>
                <a:ext uri="{FF2B5EF4-FFF2-40B4-BE49-F238E27FC236}">
                  <a16:creationId xmlns:a16="http://schemas.microsoft.com/office/drawing/2014/main" id="{55F7A88D-C391-48BC-8BAE-C144A93DA30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5204" y="2033371"/>
              <a:ext cx="608027" cy="6080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3F08586-9E2E-4026-A4F5-86928B372460}"/>
              </a:ext>
            </a:extLst>
          </p:cNvPr>
          <p:cNvGrpSpPr/>
          <p:nvPr/>
        </p:nvGrpSpPr>
        <p:grpSpPr>
          <a:xfrm>
            <a:off x="6154529" y="1712631"/>
            <a:ext cx="1372584" cy="1317772"/>
            <a:chOff x="6154529" y="1712631"/>
            <a:chExt cx="1372584" cy="1317772"/>
          </a:xfrm>
        </p:grpSpPr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17D05D67-24BB-4B78-82D4-9E01980F6B14}"/>
                </a:ext>
              </a:extLst>
            </p:cNvPr>
            <p:cNvGrpSpPr/>
            <p:nvPr/>
          </p:nvGrpSpPr>
          <p:grpSpPr>
            <a:xfrm>
              <a:off x="6154529" y="1712631"/>
              <a:ext cx="1372584" cy="1317772"/>
              <a:chOff x="10611793" y="857477"/>
              <a:chExt cx="1372584" cy="1317772"/>
            </a:xfrm>
          </p:grpSpPr>
          <p:sp>
            <p:nvSpPr>
              <p:cNvPr id="102" name="Freeform 40">
                <a:extLst>
                  <a:ext uri="{FF2B5EF4-FFF2-40B4-BE49-F238E27FC236}">
                    <a16:creationId xmlns:a16="http://schemas.microsoft.com/office/drawing/2014/main" id="{3B10AF92-2DF7-4A28-89CD-DF5BF69344AF}"/>
                  </a:ext>
                </a:extLst>
              </p:cNvPr>
              <p:cNvSpPr/>
              <p:nvPr/>
            </p:nvSpPr>
            <p:spPr>
              <a:xfrm flipV="1">
                <a:off x="10611793" y="857477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rgbClr val="59BEC9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Freeform 52">
                <a:extLst>
                  <a:ext uri="{FF2B5EF4-FFF2-40B4-BE49-F238E27FC236}">
                    <a16:creationId xmlns:a16="http://schemas.microsoft.com/office/drawing/2014/main" id="{C034657C-F6AA-452A-AD01-F42D28392CB0}"/>
                  </a:ext>
                </a:extLst>
              </p:cNvPr>
              <p:cNvSpPr/>
              <p:nvPr/>
            </p:nvSpPr>
            <p:spPr>
              <a:xfrm>
                <a:off x="10710883" y="943805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9019B8BD-CB16-4810-B5F3-8AF72D87DB26}"/>
                </a:ext>
              </a:extLst>
            </p:cNvPr>
            <p:cNvGrpSpPr/>
            <p:nvPr/>
          </p:nvGrpSpPr>
          <p:grpSpPr>
            <a:xfrm>
              <a:off x="6573612" y="1999737"/>
              <a:ext cx="692367" cy="588647"/>
              <a:chOff x="448649" y="2107662"/>
              <a:chExt cx="1379626" cy="1224926"/>
            </a:xfrm>
            <a:solidFill>
              <a:schemeClr val="bg1">
                <a:lumMod val="50000"/>
              </a:schemeClr>
            </a:solidFill>
          </p:grpSpPr>
          <p:sp>
            <p:nvSpPr>
              <p:cNvPr id="126" name="Freeform 402">
                <a:extLst>
                  <a:ext uri="{FF2B5EF4-FFF2-40B4-BE49-F238E27FC236}">
                    <a16:creationId xmlns:a16="http://schemas.microsoft.com/office/drawing/2014/main" id="{223455C3-D76B-43CD-B2B1-7EC66CA3579C}"/>
                  </a:ext>
                </a:extLst>
              </p:cNvPr>
              <p:cNvSpPr/>
              <p:nvPr/>
            </p:nvSpPr>
            <p:spPr>
              <a:xfrm>
                <a:off x="448649" y="2107662"/>
                <a:ext cx="1379626" cy="1224926"/>
              </a:xfrm>
              <a:custGeom>
                <a:avLst/>
                <a:gdLst>
                  <a:gd name="connsiteX0" fmla="*/ 682580 w 3273380"/>
                  <a:gd name="connsiteY0" fmla="*/ 1676253 h 2906330"/>
                  <a:gd name="connsiteX1" fmla="*/ 135083 w 3273380"/>
                  <a:gd name="connsiteY1" fmla="*/ 2223750 h 2906330"/>
                  <a:gd name="connsiteX2" fmla="*/ 682580 w 3273380"/>
                  <a:gd name="connsiteY2" fmla="*/ 2771247 h 2906330"/>
                  <a:gd name="connsiteX3" fmla="*/ 1230077 w 3273380"/>
                  <a:gd name="connsiteY3" fmla="*/ 2223750 h 2906330"/>
                  <a:gd name="connsiteX4" fmla="*/ 682580 w 3273380"/>
                  <a:gd name="connsiteY4" fmla="*/ 1676253 h 2906330"/>
                  <a:gd name="connsiteX5" fmla="*/ 2590800 w 3273380"/>
                  <a:gd name="connsiteY5" fmla="*/ 557938 h 2906330"/>
                  <a:gd name="connsiteX6" fmla="*/ 2043303 w 3273380"/>
                  <a:gd name="connsiteY6" fmla="*/ 1105435 h 2906330"/>
                  <a:gd name="connsiteX7" fmla="*/ 2590800 w 3273380"/>
                  <a:gd name="connsiteY7" fmla="*/ 1652932 h 2906330"/>
                  <a:gd name="connsiteX8" fmla="*/ 3138297 w 3273380"/>
                  <a:gd name="connsiteY8" fmla="*/ 1105435 h 2906330"/>
                  <a:gd name="connsiteX9" fmla="*/ 2590800 w 3273380"/>
                  <a:gd name="connsiteY9" fmla="*/ 557938 h 2906330"/>
                  <a:gd name="connsiteX10" fmla="*/ 1313513 w 3273380"/>
                  <a:gd name="connsiteY10" fmla="*/ 91329 h 2906330"/>
                  <a:gd name="connsiteX11" fmla="*/ 943350 w 3273380"/>
                  <a:gd name="connsiteY11" fmla="*/ 461492 h 2906330"/>
                  <a:gd name="connsiteX12" fmla="*/ 1313513 w 3273380"/>
                  <a:gd name="connsiteY12" fmla="*/ 831655 h 2906330"/>
                  <a:gd name="connsiteX13" fmla="*/ 1683676 w 3273380"/>
                  <a:gd name="connsiteY13" fmla="*/ 461492 h 2906330"/>
                  <a:gd name="connsiteX14" fmla="*/ 1313513 w 3273380"/>
                  <a:gd name="connsiteY14" fmla="*/ 91329 h 2906330"/>
                  <a:gd name="connsiteX15" fmla="*/ 1313513 w 3273380"/>
                  <a:gd name="connsiteY15" fmla="*/ 0 h 2906330"/>
                  <a:gd name="connsiteX16" fmla="*/ 1775005 w 3273380"/>
                  <a:gd name="connsiteY16" fmla="*/ 461492 h 2906330"/>
                  <a:gd name="connsiteX17" fmla="*/ 1738739 w 3273380"/>
                  <a:gd name="connsiteY17" fmla="*/ 641125 h 2906330"/>
                  <a:gd name="connsiteX18" fmla="*/ 1715297 w 3273380"/>
                  <a:gd name="connsiteY18" fmla="*/ 684313 h 2906330"/>
                  <a:gd name="connsiteX19" fmla="*/ 1970462 w 3273380"/>
                  <a:gd name="connsiteY19" fmla="*/ 823896 h 2906330"/>
                  <a:gd name="connsiteX20" fmla="*/ 2024794 w 3273380"/>
                  <a:gd name="connsiteY20" fmla="*/ 723798 h 2906330"/>
                  <a:gd name="connsiteX21" fmla="*/ 2590800 w 3273380"/>
                  <a:gd name="connsiteY21" fmla="*/ 422855 h 2906330"/>
                  <a:gd name="connsiteX22" fmla="*/ 3273380 w 3273380"/>
                  <a:gd name="connsiteY22" fmla="*/ 1105435 h 2906330"/>
                  <a:gd name="connsiteX23" fmla="*/ 2590800 w 3273380"/>
                  <a:gd name="connsiteY23" fmla="*/ 1788015 h 2906330"/>
                  <a:gd name="connsiteX24" fmla="*/ 2024794 w 3273380"/>
                  <a:gd name="connsiteY24" fmla="*/ 1487072 h 2906330"/>
                  <a:gd name="connsiteX25" fmla="*/ 2014067 w 3273380"/>
                  <a:gd name="connsiteY25" fmla="*/ 1467309 h 2906330"/>
                  <a:gd name="connsiteX26" fmla="*/ 1359726 w 3273380"/>
                  <a:gd name="connsiteY26" fmla="*/ 2169844 h 2906330"/>
                  <a:gd name="connsiteX27" fmla="*/ 1365160 w 3273380"/>
                  <a:gd name="connsiteY27" fmla="*/ 2223750 h 2906330"/>
                  <a:gd name="connsiteX28" fmla="*/ 682580 w 3273380"/>
                  <a:gd name="connsiteY28" fmla="*/ 2906330 h 2906330"/>
                  <a:gd name="connsiteX29" fmla="*/ 0 w 3273380"/>
                  <a:gd name="connsiteY29" fmla="*/ 2223750 h 2906330"/>
                  <a:gd name="connsiteX30" fmla="*/ 682580 w 3273380"/>
                  <a:gd name="connsiteY30" fmla="*/ 1541170 h 2906330"/>
                  <a:gd name="connsiteX31" fmla="*/ 1311520 w 3273380"/>
                  <a:gd name="connsiteY31" fmla="*/ 1958059 h 2906330"/>
                  <a:gd name="connsiteX32" fmla="*/ 1351186 w 3273380"/>
                  <a:gd name="connsiteY32" fmla="*/ 2085844 h 2906330"/>
                  <a:gd name="connsiteX33" fmla="*/ 1982116 w 3273380"/>
                  <a:gd name="connsiteY33" fmla="*/ 1408445 h 2906330"/>
                  <a:gd name="connsiteX34" fmla="*/ 1961861 w 3273380"/>
                  <a:gd name="connsiteY34" fmla="*/ 1371126 h 2906330"/>
                  <a:gd name="connsiteX35" fmla="*/ 1908220 w 3273380"/>
                  <a:gd name="connsiteY35" fmla="*/ 1105435 h 2906330"/>
                  <a:gd name="connsiteX36" fmla="*/ 1922088 w 3273380"/>
                  <a:gd name="connsiteY36" fmla="*/ 967871 h 2906330"/>
                  <a:gd name="connsiteX37" fmla="*/ 1948108 w 3273380"/>
                  <a:gd name="connsiteY37" fmla="*/ 884048 h 2906330"/>
                  <a:gd name="connsiteX38" fmla="*/ 1680997 w 3273380"/>
                  <a:gd name="connsiteY38" fmla="*/ 737930 h 2906330"/>
                  <a:gd name="connsiteX39" fmla="*/ 1639837 w 3273380"/>
                  <a:gd name="connsiteY39" fmla="*/ 787816 h 2906330"/>
                  <a:gd name="connsiteX40" fmla="*/ 1313513 w 3273380"/>
                  <a:gd name="connsiteY40" fmla="*/ 922984 h 2906330"/>
                  <a:gd name="connsiteX41" fmla="*/ 852021 w 3273380"/>
                  <a:gd name="connsiteY41" fmla="*/ 461492 h 2906330"/>
                  <a:gd name="connsiteX42" fmla="*/ 1313513 w 3273380"/>
                  <a:gd name="connsiteY42" fmla="*/ 0 h 2906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273380" h="2906330">
                    <a:moveTo>
                      <a:pt x="682580" y="1676253"/>
                    </a:moveTo>
                    <a:cubicBezTo>
                      <a:pt x="380206" y="1676253"/>
                      <a:pt x="135083" y="1921376"/>
                      <a:pt x="135083" y="2223750"/>
                    </a:cubicBezTo>
                    <a:cubicBezTo>
                      <a:pt x="135083" y="2526124"/>
                      <a:pt x="380206" y="2771247"/>
                      <a:pt x="682580" y="2771247"/>
                    </a:cubicBezTo>
                    <a:cubicBezTo>
                      <a:pt x="984954" y="2771247"/>
                      <a:pt x="1230077" y="2526124"/>
                      <a:pt x="1230077" y="2223750"/>
                    </a:cubicBezTo>
                    <a:cubicBezTo>
                      <a:pt x="1230077" y="1921376"/>
                      <a:pt x="984954" y="1676253"/>
                      <a:pt x="682580" y="1676253"/>
                    </a:cubicBezTo>
                    <a:close/>
                    <a:moveTo>
                      <a:pt x="2590800" y="557938"/>
                    </a:moveTo>
                    <a:cubicBezTo>
                      <a:pt x="2288426" y="557938"/>
                      <a:pt x="2043303" y="803061"/>
                      <a:pt x="2043303" y="1105435"/>
                    </a:cubicBezTo>
                    <a:cubicBezTo>
                      <a:pt x="2043303" y="1407809"/>
                      <a:pt x="2288426" y="1652932"/>
                      <a:pt x="2590800" y="1652932"/>
                    </a:cubicBezTo>
                    <a:cubicBezTo>
                      <a:pt x="2893174" y="1652932"/>
                      <a:pt x="3138297" y="1407809"/>
                      <a:pt x="3138297" y="1105435"/>
                    </a:cubicBezTo>
                    <a:cubicBezTo>
                      <a:pt x="3138297" y="803061"/>
                      <a:pt x="2893174" y="557938"/>
                      <a:pt x="2590800" y="557938"/>
                    </a:cubicBezTo>
                    <a:close/>
                    <a:moveTo>
                      <a:pt x="1313513" y="91329"/>
                    </a:moveTo>
                    <a:cubicBezTo>
                      <a:pt x="1109078" y="91329"/>
                      <a:pt x="943350" y="257057"/>
                      <a:pt x="943350" y="461492"/>
                    </a:cubicBezTo>
                    <a:cubicBezTo>
                      <a:pt x="943350" y="665927"/>
                      <a:pt x="1109078" y="831655"/>
                      <a:pt x="1313513" y="831655"/>
                    </a:cubicBezTo>
                    <a:cubicBezTo>
                      <a:pt x="1517948" y="831655"/>
                      <a:pt x="1683676" y="665927"/>
                      <a:pt x="1683676" y="461492"/>
                    </a:cubicBezTo>
                    <a:cubicBezTo>
                      <a:pt x="1683676" y="257057"/>
                      <a:pt x="1517948" y="91329"/>
                      <a:pt x="1313513" y="91329"/>
                    </a:cubicBezTo>
                    <a:close/>
                    <a:moveTo>
                      <a:pt x="1313513" y="0"/>
                    </a:moveTo>
                    <a:cubicBezTo>
                      <a:pt x="1568388" y="0"/>
                      <a:pt x="1775005" y="206617"/>
                      <a:pt x="1775005" y="461492"/>
                    </a:cubicBezTo>
                    <a:cubicBezTo>
                      <a:pt x="1775005" y="525211"/>
                      <a:pt x="1762092" y="585913"/>
                      <a:pt x="1738739" y="641125"/>
                    </a:cubicBezTo>
                    <a:lnTo>
                      <a:pt x="1715297" y="684313"/>
                    </a:lnTo>
                    <a:lnTo>
                      <a:pt x="1970462" y="823896"/>
                    </a:lnTo>
                    <a:lnTo>
                      <a:pt x="2024794" y="723798"/>
                    </a:lnTo>
                    <a:cubicBezTo>
                      <a:pt x="2147459" y="542230"/>
                      <a:pt x="2355188" y="422855"/>
                      <a:pt x="2590800" y="422855"/>
                    </a:cubicBezTo>
                    <a:cubicBezTo>
                      <a:pt x="2967779" y="422855"/>
                      <a:pt x="3273380" y="728456"/>
                      <a:pt x="3273380" y="1105435"/>
                    </a:cubicBezTo>
                    <a:cubicBezTo>
                      <a:pt x="3273380" y="1482414"/>
                      <a:pt x="2967779" y="1788015"/>
                      <a:pt x="2590800" y="1788015"/>
                    </a:cubicBezTo>
                    <a:cubicBezTo>
                      <a:pt x="2355188" y="1788015"/>
                      <a:pt x="2147459" y="1668640"/>
                      <a:pt x="2024794" y="1487072"/>
                    </a:cubicBezTo>
                    <a:lnTo>
                      <a:pt x="2014067" y="1467309"/>
                    </a:lnTo>
                    <a:lnTo>
                      <a:pt x="1359726" y="2169844"/>
                    </a:lnTo>
                    <a:lnTo>
                      <a:pt x="1365160" y="2223750"/>
                    </a:lnTo>
                    <a:cubicBezTo>
                      <a:pt x="1365160" y="2600729"/>
                      <a:pt x="1059559" y="2906330"/>
                      <a:pt x="682580" y="2906330"/>
                    </a:cubicBezTo>
                    <a:cubicBezTo>
                      <a:pt x="305601" y="2906330"/>
                      <a:pt x="0" y="2600729"/>
                      <a:pt x="0" y="2223750"/>
                    </a:cubicBezTo>
                    <a:cubicBezTo>
                      <a:pt x="0" y="1846771"/>
                      <a:pt x="305601" y="1541170"/>
                      <a:pt x="682580" y="1541170"/>
                    </a:cubicBezTo>
                    <a:cubicBezTo>
                      <a:pt x="965314" y="1541170"/>
                      <a:pt x="1207899" y="1713071"/>
                      <a:pt x="1311520" y="1958059"/>
                    </a:cubicBezTo>
                    <a:lnTo>
                      <a:pt x="1351186" y="2085844"/>
                    </a:lnTo>
                    <a:lnTo>
                      <a:pt x="1982116" y="1408445"/>
                    </a:lnTo>
                    <a:lnTo>
                      <a:pt x="1961861" y="1371126"/>
                    </a:lnTo>
                    <a:cubicBezTo>
                      <a:pt x="1927320" y="1289463"/>
                      <a:pt x="1908220" y="1199680"/>
                      <a:pt x="1908220" y="1105435"/>
                    </a:cubicBezTo>
                    <a:cubicBezTo>
                      <a:pt x="1908220" y="1058313"/>
                      <a:pt x="1912995" y="1012305"/>
                      <a:pt x="1922088" y="967871"/>
                    </a:cubicBezTo>
                    <a:lnTo>
                      <a:pt x="1948108" y="884048"/>
                    </a:lnTo>
                    <a:lnTo>
                      <a:pt x="1680997" y="737930"/>
                    </a:lnTo>
                    <a:lnTo>
                      <a:pt x="1639837" y="787816"/>
                    </a:lnTo>
                    <a:cubicBezTo>
                      <a:pt x="1556324" y="871330"/>
                      <a:pt x="1440951" y="922984"/>
                      <a:pt x="1313513" y="922984"/>
                    </a:cubicBezTo>
                    <a:cubicBezTo>
                      <a:pt x="1058638" y="922984"/>
                      <a:pt x="852021" y="716367"/>
                      <a:pt x="852021" y="461492"/>
                    </a:cubicBezTo>
                    <a:cubicBezTo>
                      <a:pt x="852021" y="206617"/>
                      <a:pt x="1058638" y="0"/>
                      <a:pt x="13135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Rectangle 2">
                <a:extLst>
                  <a:ext uri="{FF2B5EF4-FFF2-40B4-BE49-F238E27FC236}">
                    <a16:creationId xmlns:a16="http://schemas.microsoft.com/office/drawing/2014/main" id="{B31E0354-BEFC-4232-AFF2-E3153E72C55C}"/>
                  </a:ext>
                </a:extLst>
              </p:cNvPr>
              <p:cNvSpPr/>
              <p:nvPr/>
            </p:nvSpPr>
            <p:spPr>
              <a:xfrm>
                <a:off x="594964" y="2868952"/>
                <a:ext cx="260612" cy="310780"/>
              </a:xfrm>
              <a:custGeom>
                <a:avLst/>
                <a:gdLst>
                  <a:gd name="connsiteX0" fmla="*/ 0 w 1924050"/>
                  <a:gd name="connsiteY0" fmla="*/ 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0 w 1924050"/>
                  <a:gd name="connsiteY4" fmla="*/ 0 h 2159000"/>
                  <a:gd name="connsiteX0" fmla="*/ 463550 w 1924050"/>
                  <a:gd name="connsiteY0" fmla="*/ 89535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463550 w 192405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41450"/>
                  <a:gd name="connsiteY0" fmla="*/ 895350 h 2159000"/>
                  <a:gd name="connsiteX1" fmla="*/ 1441450 w 1441450"/>
                  <a:gd name="connsiteY1" fmla="*/ 0 h 2159000"/>
                  <a:gd name="connsiteX2" fmla="*/ 1441450 w 1441450"/>
                  <a:gd name="connsiteY2" fmla="*/ 2159000 h 2159000"/>
                  <a:gd name="connsiteX3" fmla="*/ 76200 w 1441450"/>
                  <a:gd name="connsiteY3" fmla="*/ 1384300 h 2159000"/>
                  <a:gd name="connsiteX4" fmla="*/ 0 w 1441450"/>
                  <a:gd name="connsiteY4" fmla="*/ 895350 h 2159000"/>
                  <a:gd name="connsiteX0" fmla="*/ 25400 w 1466850"/>
                  <a:gd name="connsiteY0" fmla="*/ 895350 h 2159000"/>
                  <a:gd name="connsiteX1" fmla="*/ 1466850 w 1466850"/>
                  <a:gd name="connsiteY1" fmla="*/ 0 h 2159000"/>
                  <a:gd name="connsiteX2" fmla="*/ 1466850 w 1466850"/>
                  <a:gd name="connsiteY2" fmla="*/ 2159000 h 2159000"/>
                  <a:gd name="connsiteX3" fmla="*/ 101600 w 1466850"/>
                  <a:gd name="connsiteY3" fmla="*/ 1384300 h 2159000"/>
                  <a:gd name="connsiteX4" fmla="*/ 25400 w 1466850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84300 h 2159000"/>
                  <a:gd name="connsiteX4" fmla="*/ 33866 w 1475316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65250 h 2159000"/>
                  <a:gd name="connsiteX4" fmla="*/ 33866 w 1475316"/>
                  <a:gd name="connsiteY4" fmla="*/ 895350 h 2159000"/>
                  <a:gd name="connsiteX0" fmla="*/ 33866 w 1475316"/>
                  <a:gd name="connsiteY0" fmla="*/ 25400 h 1289050"/>
                  <a:gd name="connsiteX1" fmla="*/ 1367366 w 1475316"/>
                  <a:gd name="connsiteY1" fmla="*/ 0 h 1289050"/>
                  <a:gd name="connsiteX2" fmla="*/ 1475316 w 1475316"/>
                  <a:gd name="connsiteY2" fmla="*/ 1289050 h 1289050"/>
                  <a:gd name="connsiteX3" fmla="*/ 110066 w 1475316"/>
                  <a:gd name="connsiteY3" fmla="*/ 495300 h 1289050"/>
                  <a:gd name="connsiteX4" fmla="*/ 33866 w 1475316"/>
                  <a:gd name="connsiteY4" fmla="*/ 25400 h 1289050"/>
                  <a:gd name="connsiteX0" fmla="*/ 33866 w 1475316"/>
                  <a:gd name="connsiteY0" fmla="*/ 485472 h 1749122"/>
                  <a:gd name="connsiteX1" fmla="*/ 1367366 w 1475316"/>
                  <a:gd name="connsiteY1" fmla="*/ 460072 h 1749122"/>
                  <a:gd name="connsiteX2" fmla="*/ 1475316 w 1475316"/>
                  <a:gd name="connsiteY2" fmla="*/ 1749122 h 1749122"/>
                  <a:gd name="connsiteX3" fmla="*/ 110066 w 1475316"/>
                  <a:gd name="connsiteY3" fmla="*/ 955372 h 1749122"/>
                  <a:gd name="connsiteX4" fmla="*/ 33866 w 1475316"/>
                  <a:gd name="connsiteY4" fmla="*/ 485472 h 1749122"/>
                  <a:gd name="connsiteX0" fmla="*/ 33866 w 1475316"/>
                  <a:gd name="connsiteY0" fmla="*/ 756462 h 2020112"/>
                  <a:gd name="connsiteX1" fmla="*/ 1367366 w 1475316"/>
                  <a:gd name="connsiteY1" fmla="*/ 731062 h 2020112"/>
                  <a:gd name="connsiteX2" fmla="*/ 1475316 w 1475316"/>
                  <a:gd name="connsiteY2" fmla="*/ 2020112 h 2020112"/>
                  <a:gd name="connsiteX3" fmla="*/ 110066 w 1475316"/>
                  <a:gd name="connsiteY3" fmla="*/ 1226362 h 2020112"/>
                  <a:gd name="connsiteX4" fmla="*/ 33866 w 1475316"/>
                  <a:gd name="connsiteY4" fmla="*/ 756462 h 2020112"/>
                  <a:gd name="connsiteX0" fmla="*/ 33866 w 1475316"/>
                  <a:gd name="connsiteY0" fmla="*/ 817612 h 2081262"/>
                  <a:gd name="connsiteX1" fmla="*/ 1367366 w 1475316"/>
                  <a:gd name="connsiteY1" fmla="*/ 792212 h 2081262"/>
                  <a:gd name="connsiteX2" fmla="*/ 1475316 w 1475316"/>
                  <a:gd name="connsiteY2" fmla="*/ 2081262 h 2081262"/>
                  <a:gd name="connsiteX3" fmla="*/ 110066 w 1475316"/>
                  <a:gd name="connsiteY3" fmla="*/ 1287512 h 2081262"/>
                  <a:gd name="connsiteX4" fmla="*/ 33866 w 1475316"/>
                  <a:gd name="connsiteY4" fmla="*/ 817612 h 2081262"/>
                  <a:gd name="connsiteX0" fmla="*/ 35818 w 1477268"/>
                  <a:gd name="connsiteY0" fmla="*/ 917181 h 2180831"/>
                  <a:gd name="connsiteX1" fmla="*/ 1369318 w 1477268"/>
                  <a:gd name="connsiteY1" fmla="*/ 891781 h 2180831"/>
                  <a:gd name="connsiteX2" fmla="*/ 1477268 w 1477268"/>
                  <a:gd name="connsiteY2" fmla="*/ 2180831 h 2180831"/>
                  <a:gd name="connsiteX3" fmla="*/ 112018 w 1477268"/>
                  <a:gd name="connsiteY3" fmla="*/ 1387081 h 2180831"/>
                  <a:gd name="connsiteX4" fmla="*/ 35818 w 1477268"/>
                  <a:gd name="connsiteY4" fmla="*/ 917181 h 2180831"/>
                  <a:gd name="connsiteX0" fmla="*/ 35124 w 1476574"/>
                  <a:gd name="connsiteY0" fmla="*/ 940011 h 2203661"/>
                  <a:gd name="connsiteX1" fmla="*/ 1368624 w 1476574"/>
                  <a:gd name="connsiteY1" fmla="*/ 914611 h 2203661"/>
                  <a:gd name="connsiteX2" fmla="*/ 1476574 w 1476574"/>
                  <a:gd name="connsiteY2" fmla="*/ 2203661 h 2203661"/>
                  <a:gd name="connsiteX3" fmla="*/ 111324 w 1476574"/>
                  <a:gd name="connsiteY3" fmla="*/ 1409911 h 2203661"/>
                  <a:gd name="connsiteX4" fmla="*/ 35124 w 1476574"/>
                  <a:gd name="connsiteY4" fmla="*/ 940011 h 22036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919 w 1406139"/>
                  <a:gd name="connsiteY0" fmla="*/ 935418 h 1424368"/>
                  <a:gd name="connsiteX1" fmla="*/ 1369419 w 1406139"/>
                  <a:gd name="connsiteY1" fmla="*/ 910018 h 1424368"/>
                  <a:gd name="connsiteX2" fmla="*/ 1280519 w 1406139"/>
                  <a:gd name="connsiteY2" fmla="*/ 1424368 h 1424368"/>
                  <a:gd name="connsiteX3" fmla="*/ 112119 w 1406139"/>
                  <a:gd name="connsiteY3" fmla="*/ 1405318 h 1424368"/>
                  <a:gd name="connsiteX4" fmla="*/ 35919 w 1406139"/>
                  <a:gd name="connsiteY4" fmla="*/ 935418 h 1424368"/>
                  <a:gd name="connsiteX0" fmla="*/ 35819 w 1406482"/>
                  <a:gd name="connsiteY0" fmla="*/ 951556 h 1440506"/>
                  <a:gd name="connsiteX1" fmla="*/ 1369319 w 1406482"/>
                  <a:gd name="connsiteY1" fmla="*/ 926156 h 1440506"/>
                  <a:gd name="connsiteX2" fmla="*/ 1280419 w 1406482"/>
                  <a:gd name="connsiteY2" fmla="*/ 1440506 h 1440506"/>
                  <a:gd name="connsiteX3" fmla="*/ 112019 w 1406482"/>
                  <a:gd name="connsiteY3" fmla="*/ 1421456 h 1440506"/>
                  <a:gd name="connsiteX4" fmla="*/ 35819 w 1406482"/>
                  <a:gd name="connsiteY4" fmla="*/ 951556 h 1440506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112019 w 1406482"/>
                  <a:gd name="connsiteY3" fmla="*/ 1404431 h 1423481"/>
                  <a:gd name="connsiteX4" fmla="*/ 35819 w 1406482"/>
                  <a:gd name="connsiteY4" fmla="*/ 934531 h 1423481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594619 w 1406482"/>
                  <a:gd name="connsiteY3" fmla="*/ 1417131 h 1423481"/>
                  <a:gd name="connsiteX4" fmla="*/ 112019 w 1406482"/>
                  <a:gd name="connsiteY4" fmla="*/ 1404431 h 1423481"/>
                  <a:gd name="connsiteX5" fmla="*/ 35819 w 1406482"/>
                  <a:gd name="connsiteY5" fmla="*/ 934531 h 142348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342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981969 w 1406482"/>
                  <a:gd name="connsiteY3" fmla="*/ 1563181 h 1899731"/>
                  <a:gd name="connsiteX4" fmla="*/ 308869 w 1406482"/>
                  <a:gd name="connsiteY4" fmla="*/ 1899731 h 1899731"/>
                  <a:gd name="connsiteX5" fmla="*/ 112019 w 1406482"/>
                  <a:gd name="connsiteY5" fmla="*/ 1404431 h 1899731"/>
                  <a:gd name="connsiteX6" fmla="*/ 35819 w 1406482"/>
                  <a:gd name="connsiteY6" fmla="*/ 934531 h 189973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531119 w 1406482"/>
                  <a:gd name="connsiteY4" fmla="*/ 1906081 h 1918781"/>
                  <a:gd name="connsiteX5" fmla="*/ 308869 w 1406482"/>
                  <a:gd name="connsiteY5" fmla="*/ 1899731 h 1918781"/>
                  <a:gd name="connsiteX6" fmla="*/ 112019 w 1406482"/>
                  <a:gd name="connsiteY6" fmla="*/ 1404431 h 1918781"/>
                  <a:gd name="connsiteX7" fmla="*/ 35819 w 1406482"/>
                  <a:gd name="connsiteY7" fmla="*/ 934531 h 191878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0 w 1472263"/>
                  <a:gd name="connsiteY4" fmla="*/ 2496631 h 2496631"/>
                  <a:gd name="connsiteX5" fmla="*/ 374650 w 1472263"/>
                  <a:gd name="connsiteY5" fmla="*/ 1899731 h 2496631"/>
                  <a:gd name="connsiteX6" fmla="*/ 177800 w 1472263"/>
                  <a:gd name="connsiteY6" fmla="*/ 1404431 h 2496631"/>
                  <a:gd name="connsiteX7" fmla="*/ 101600 w 1472263"/>
                  <a:gd name="connsiteY7" fmla="*/ 934531 h 249663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577851 w 1472263"/>
                  <a:gd name="connsiteY4" fmla="*/ 2185481 h 2496631"/>
                  <a:gd name="connsiteX5" fmla="*/ 0 w 1472263"/>
                  <a:gd name="connsiteY5" fmla="*/ 2496631 h 2496631"/>
                  <a:gd name="connsiteX6" fmla="*/ 374650 w 1472263"/>
                  <a:gd name="connsiteY6" fmla="*/ 1899731 h 2496631"/>
                  <a:gd name="connsiteX7" fmla="*/ 177800 w 1472263"/>
                  <a:gd name="connsiteY7" fmla="*/ 1404431 h 2496631"/>
                  <a:gd name="connsiteX8" fmla="*/ 101600 w 1472263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10419 w 1426470"/>
                  <a:gd name="connsiteY5" fmla="*/ 24458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267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50800 w 1441451"/>
                  <a:gd name="connsiteY0" fmla="*/ 934531 h 2458531"/>
                  <a:gd name="connsiteX1" fmla="*/ 1384300 w 1441451"/>
                  <a:gd name="connsiteY1" fmla="*/ 909131 h 2458531"/>
                  <a:gd name="connsiteX2" fmla="*/ 1295400 w 1441451"/>
                  <a:gd name="connsiteY2" fmla="*/ 1423481 h 2458531"/>
                  <a:gd name="connsiteX3" fmla="*/ 1104900 w 1441451"/>
                  <a:gd name="connsiteY3" fmla="*/ 1918781 h 2458531"/>
                  <a:gd name="connsiteX4" fmla="*/ 1441451 w 1441451"/>
                  <a:gd name="connsiteY4" fmla="*/ 2458531 h 2458531"/>
                  <a:gd name="connsiteX5" fmla="*/ 0 w 1441451"/>
                  <a:gd name="connsiteY5" fmla="*/ 2445831 h 2458531"/>
                  <a:gd name="connsiteX6" fmla="*/ 323850 w 1441451"/>
                  <a:gd name="connsiteY6" fmla="*/ 1899731 h 2458531"/>
                  <a:gd name="connsiteX7" fmla="*/ 127000 w 1441451"/>
                  <a:gd name="connsiteY7" fmla="*/ 1404431 h 2458531"/>
                  <a:gd name="connsiteX8" fmla="*/ 50800 w 144145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419101 w 1435101"/>
                  <a:gd name="connsiteY5" fmla="*/ 2458531 h 2458531"/>
                  <a:gd name="connsiteX6" fmla="*/ 0 w 1435101"/>
                  <a:gd name="connsiteY6" fmla="*/ 2458531 h 2458531"/>
                  <a:gd name="connsiteX7" fmla="*/ 317500 w 1435101"/>
                  <a:gd name="connsiteY7" fmla="*/ 1899731 h 2458531"/>
                  <a:gd name="connsiteX8" fmla="*/ 120650 w 1435101"/>
                  <a:gd name="connsiteY8" fmla="*/ 1404431 h 2458531"/>
                  <a:gd name="connsiteX9" fmla="*/ 44450 w 1435101"/>
                  <a:gd name="connsiteY9" fmla="*/ 934531 h 2458531"/>
                  <a:gd name="connsiteX0" fmla="*/ 901699 w 2292350"/>
                  <a:gd name="connsiteY0" fmla="*/ 934531 h 2953831"/>
                  <a:gd name="connsiteX1" fmla="*/ 2235199 w 2292350"/>
                  <a:gd name="connsiteY1" fmla="*/ 909131 h 2953831"/>
                  <a:gd name="connsiteX2" fmla="*/ 2146299 w 2292350"/>
                  <a:gd name="connsiteY2" fmla="*/ 1423481 h 2953831"/>
                  <a:gd name="connsiteX3" fmla="*/ 1968499 w 2292350"/>
                  <a:gd name="connsiteY3" fmla="*/ 1893381 h 2953831"/>
                  <a:gd name="connsiteX4" fmla="*/ 2292350 w 2292350"/>
                  <a:gd name="connsiteY4" fmla="*/ 2458531 h 2953831"/>
                  <a:gd name="connsiteX5" fmla="*/ 0 w 2292350"/>
                  <a:gd name="connsiteY5" fmla="*/ 2953831 h 2953831"/>
                  <a:gd name="connsiteX6" fmla="*/ 857249 w 2292350"/>
                  <a:gd name="connsiteY6" fmla="*/ 2458531 h 2953831"/>
                  <a:gd name="connsiteX7" fmla="*/ 1174749 w 2292350"/>
                  <a:gd name="connsiteY7" fmla="*/ 1899731 h 2953831"/>
                  <a:gd name="connsiteX8" fmla="*/ 977899 w 2292350"/>
                  <a:gd name="connsiteY8" fmla="*/ 1404431 h 2953831"/>
                  <a:gd name="connsiteX9" fmla="*/ 901699 w 229235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1708150 w 2260600"/>
                  <a:gd name="connsiteY5" fmla="*/ 2585531 h 2953831"/>
                  <a:gd name="connsiteX6" fmla="*/ 0 w 2260600"/>
                  <a:gd name="connsiteY6" fmla="*/ 2953831 h 2953831"/>
                  <a:gd name="connsiteX7" fmla="*/ 825499 w 2260600"/>
                  <a:gd name="connsiteY7" fmla="*/ 2458531 h 2953831"/>
                  <a:gd name="connsiteX8" fmla="*/ 1142999 w 2260600"/>
                  <a:gd name="connsiteY8" fmla="*/ 1899731 h 2953831"/>
                  <a:gd name="connsiteX9" fmla="*/ 946149 w 2260600"/>
                  <a:gd name="connsiteY9" fmla="*/ 1404431 h 2953831"/>
                  <a:gd name="connsiteX10" fmla="*/ 869949 w 226060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2463800 w 3067050"/>
                  <a:gd name="connsiteY6" fmla="*/ 2947481 h 2953831"/>
                  <a:gd name="connsiteX7" fmla="*/ 0 w 3067050"/>
                  <a:gd name="connsiteY7" fmla="*/ 2953831 h 2953831"/>
                  <a:gd name="connsiteX8" fmla="*/ 825499 w 3067050"/>
                  <a:gd name="connsiteY8" fmla="*/ 2458531 h 2953831"/>
                  <a:gd name="connsiteX9" fmla="*/ 1142999 w 3067050"/>
                  <a:gd name="connsiteY9" fmla="*/ 1899731 h 2953831"/>
                  <a:gd name="connsiteX10" fmla="*/ 946149 w 3067050"/>
                  <a:gd name="connsiteY10" fmla="*/ 1404431 h 2953831"/>
                  <a:gd name="connsiteX11" fmla="*/ 869949 w 3067050"/>
                  <a:gd name="connsiteY11" fmla="*/ 934531 h 29538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450850 w 3079750"/>
                  <a:gd name="connsiteY7" fmla="*/ 3042731 h 3639631"/>
                  <a:gd name="connsiteX8" fmla="*/ 0 w 3079750"/>
                  <a:gd name="connsiteY8" fmla="*/ 2953831 h 3639631"/>
                  <a:gd name="connsiteX9" fmla="*/ 825499 w 3079750"/>
                  <a:gd name="connsiteY9" fmla="*/ 2458531 h 3639631"/>
                  <a:gd name="connsiteX10" fmla="*/ 1142999 w 3079750"/>
                  <a:gd name="connsiteY10" fmla="*/ 1899731 h 3639631"/>
                  <a:gd name="connsiteX11" fmla="*/ 946149 w 3079750"/>
                  <a:gd name="connsiteY11" fmla="*/ 1404431 h 3639631"/>
                  <a:gd name="connsiteX12" fmla="*/ 869949 w 3079750"/>
                  <a:gd name="connsiteY12" fmla="*/ 934531 h 3639631"/>
                  <a:gd name="connsiteX0" fmla="*/ 882649 w 3092450"/>
                  <a:gd name="connsiteY0" fmla="*/ 934531 h 3665031"/>
                  <a:gd name="connsiteX1" fmla="*/ 2216149 w 3092450"/>
                  <a:gd name="connsiteY1" fmla="*/ 909131 h 3665031"/>
                  <a:gd name="connsiteX2" fmla="*/ 2127249 w 3092450"/>
                  <a:gd name="connsiteY2" fmla="*/ 1423481 h 3665031"/>
                  <a:gd name="connsiteX3" fmla="*/ 1949449 w 3092450"/>
                  <a:gd name="connsiteY3" fmla="*/ 1893381 h 3665031"/>
                  <a:gd name="connsiteX4" fmla="*/ 2273300 w 3092450"/>
                  <a:gd name="connsiteY4" fmla="*/ 2458531 h 3665031"/>
                  <a:gd name="connsiteX5" fmla="*/ 3079750 w 3092450"/>
                  <a:gd name="connsiteY5" fmla="*/ 2953831 h 3665031"/>
                  <a:gd name="connsiteX6" fmla="*/ 3092450 w 3092450"/>
                  <a:gd name="connsiteY6" fmla="*/ 3639631 h 3665031"/>
                  <a:gd name="connsiteX7" fmla="*/ 0 w 3092450"/>
                  <a:gd name="connsiteY7" fmla="*/ 3665031 h 3665031"/>
                  <a:gd name="connsiteX8" fmla="*/ 12700 w 3092450"/>
                  <a:gd name="connsiteY8" fmla="*/ 2953831 h 3665031"/>
                  <a:gd name="connsiteX9" fmla="*/ 838199 w 3092450"/>
                  <a:gd name="connsiteY9" fmla="*/ 2458531 h 3665031"/>
                  <a:gd name="connsiteX10" fmla="*/ 1155699 w 3092450"/>
                  <a:gd name="connsiteY10" fmla="*/ 1899731 h 3665031"/>
                  <a:gd name="connsiteX11" fmla="*/ 958849 w 3092450"/>
                  <a:gd name="connsiteY11" fmla="*/ 1404431 h 3665031"/>
                  <a:gd name="connsiteX12" fmla="*/ 882649 w 3092450"/>
                  <a:gd name="connsiteY12" fmla="*/ 934531 h 3665031"/>
                  <a:gd name="connsiteX0" fmla="*/ 869949 w 3079750"/>
                  <a:gd name="connsiteY0" fmla="*/ 934531 h 3665031"/>
                  <a:gd name="connsiteX1" fmla="*/ 2203449 w 3079750"/>
                  <a:gd name="connsiteY1" fmla="*/ 909131 h 3665031"/>
                  <a:gd name="connsiteX2" fmla="*/ 2114549 w 3079750"/>
                  <a:gd name="connsiteY2" fmla="*/ 1423481 h 3665031"/>
                  <a:gd name="connsiteX3" fmla="*/ 1936749 w 3079750"/>
                  <a:gd name="connsiteY3" fmla="*/ 1893381 h 3665031"/>
                  <a:gd name="connsiteX4" fmla="*/ 2260600 w 3079750"/>
                  <a:gd name="connsiteY4" fmla="*/ 2458531 h 3665031"/>
                  <a:gd name="connsiteX5" fmla="*/ 3067050 w 3079750"/>
                  <a:gd name="connsiteY5" fmla="*/ 2953831 h 3665031"/>
                  <a:gd name="connsiteX6" fmla="*/ 3079750 w 3079750"/>
                  <a:gd name="connsiteY6" fmla="*/ 3639631 h 3665031"/>
                  <a:gd name="connsiteX7" fmla="*/ 0 w 3079750"/>
                  <a:gd name="connsiteY7" fmla="*/ 3665031 h 3665031"/>
                  <a:gd name="connsiteX8" fmla="*/ 0 w 3079750"/>
                  <a:gd name="connsiteY8" fmla="*/ 2953831 h 3665031"/>
                  <a:gd name="connsiteX9" fmla="*/ 825499 w 3079750"/>
                  <a:gd name="connsiteY9" fmla="*/ 2458531 h 3665031"/>
                  <a:gd name="connsiteX10" fmla="*/ 1142999 w 3079750"/>
                  <a:gd name="connsiteY10" fmla="*/ 1899731 h 3665031"/>
                  <a:gd name="connsiteX11" fmla="*/ 946149 w 3079750"/>
                  <a:gd name="connsiteY11" fmla="*/ 1404431 h 3665031"/>
                  <a:gd name="connsiteX12" fmla="*/ 869949 w 307975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73400" h="3665031">
                    <a:moveTo>
                      <a:pt x="869949" y="934531"/>
                    </a:moveTo>
                    <a:cubicBezTo>
                      <a:pt x="546099" y="-362986"/>
                      <a:pt x="2533649" y="-250802"/>
                      <a:pt x="2203449" y="909131"/>
                    </a:cubicBezTo>
                    <a:cubicBezTo>
                      <a:pt x="2281766" y="1080581"/>
                      <a:pt x="2226732" y="1252031"/>
                      <a:pt x="2114549" y="1423481"/>
                    </a:cubicBezTo>
                    <a:cubicBezTo>
                      <a:pt x="2108199" y="1633031"/>
                      <a:pt x="2057399" y="1715581"/>
                      <a:pt x="1936749" y="1893381"/>
                    </a:cubicBezTo>
                    <a:cubicBezTo>
                      <a:pt x="1934633" y="2365398"/>
                      <a:pt x="1932516" y="2329414"/>
                      <a:pt x="2260600" y="2458531"/>
                    </a:cubicBezTo>
                    <a:cubicBezTo>
                      <a:pt x="2599267" y="2598231"/>
                      <a:pt x="3020483" y="2731581"/>
                      <a:pt x="3067050" y="2953831"/>
                    </a:cubicBezTo>
                    <a:cubicBezTo>
                      <a:pt x="3069167" y="3190898"/>
                      <a:pt x="3071283" y="3427964"/>
                      <a:pt x="3073400" y="3665031"/>
                    </a:cubicBezTo>
                    <a:lnTo>
                      <a:pt x="0" y="3665031"/>
                    </a:lnTo>
                    <a:lnTo>
                      <a:pt x="0" y="2953831"/>
                    </a:lnTo>
                    <a:cubicBezTo>
                      <a:pt x="27516" y="2769681"/>
                      <a:pt x="423333" y="2585531"/>
                      <a:pt x="825499" y="2458531"/>
                    </a:cubicBezTo>
                    <a:cubicBezTo>
                      <a:pt x="1083732" y="2361164"/>
                      <a:pt x="1164166" y="2384448"/>
                      <a:pt x="1142999" y="1899731"/>
                    </a:cubicBezTo>
                    <a:cubicBezTo>
                      <a:pt x="982132" y="1728281"/>
                      <a:pt x="973666" y="1563181"/>
                      <a:pt x="946149" y="1404431"/>
                    </a:cubicBezTo>
                    <a:cubicBezTo>
                      <a:pt x="844549" y="1247798"/>
                      <a:pt x="800099" y="1046714"/>
                      <a:pt x="869949" y="9345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130" name="Rectangle 2">
                <a:extLst>
                  <a:ext uri="{FF2B5EF4-FFF2-40B4-BE49-F238E27FC236}">
                    <a16:creationId xmlns:a16="http://schemas.microsoft.com/office/drawing/2014/main" id="{9E6319D5-5A4B-4F93-A7FD-38F1C1E55196}"/>
                  </a:ext>
                </a:extLst>
              </p:cNvPr>
              <p:cNvSpPr/>
              <p:nvPr/>
            </p:nvSpPr>
            <p:spPr>
              <a:xfrm>
                <a:off x="1436381" y="2422525"/>
                <a:ext cx="207338" cy="247250"/>
              </a:xfrm>
              <a:custGeom>
                <a:avLst/>
                <a:gdLst>
                  <a:gd name="connsiteX0" fmla="*/ 0 w 1924050"/>
                  <a:gd name="connsiteY0" fmla="*/ 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0 w 1924050"/>
                  <a:gd name="connsiteY4" fmla="*/ 0 h 2159000"/>
                  <a:gd name="connsiteX0" fmla="*/ 463550 w 1924050"/>
                  <a:gd name="connsiteY0" fmla="*/ 89535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463550 w 192405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41450"/>
                  <a:gd name="connsiteY0" fmla="*/ 895350 h 2159000"/>
                  <a:gd name="connsiteX1" fmla="*/ 1441450 w 1441450"/>
                  <a:gd name="connsiteY1" fmla="*/ 0 h 2159000"/>
                  <a:gd name="connsiteX2" fmla="*/ 1441450 w 1441450"/>
                  <a:gd name="connsiteY2" fmla="*/ 2159000 h 2159000"/>
                  <a:gd name="connsiteX3" fmla="*/ 76200 w 1441450"/>
                  <a:gd name="connsiteY3" fmla="*/ 1384300 h 2159000"/>
                  <a:gd name="connsiteX4" fmla="*/ 0 w 1441450"/>
                  <a:gd name="connsiteY4" fmla="*/ 895350 h 2159000"/>
                  <a:gd name="connsiteX0" fmla="*/ 25400 w 1466850"/>
                  <a:gd name="connsiteY0" fmla="*/ 895350 h 2159000"/>
                  <a:gd name="connsiteX1" fmla="*/ 1466850 w 1466850"/>
                  <a:gd name="connsiteY1" fmla="*/ 0 h 2159000"/>
                  <a:gd name="connsiteX2" fmla="*/ 1466850 w 1466850"/>
                  <a:gd name="connsiteY2" fmla="*/ 2159000 h 2159000"/>
                  <a:gd name="connsiteX3" fmla="*/ 101600 w 1466850"/>
                  <a:gd name="connsiteY3" fmla="*/ 1384300 h 2159000"/>
                  <a:gd name="connsiteX4" fmla="*/ 25400 w 1466850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84300 h 2159000"/>
                  <a:gd name="connsiteX4" fmla="*/ 33866 w 1475316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65250 h 2159000"/>
                  <a:gd name="connsiteX4" fmla="*/ 33866 w 1475316"/>
                  <a:gd name="connsiteY4" fmla="*/ 895350 h 2159000"/>
                  <a:gd name="connsiteX0" fmla="*/ 33866 w 1475316"/>
                  <a:gd name="connsiteY0" fmla="*/ 25400 h 1289050"/>
                  <a:gd name="connsiteX1" fmla="*/ 1367366 w 1475316"/>
                  <a:gd name="connsiteY1" fmla="*/ 0 h 1289050"/>
                  <a:gd name="connsiteX2" fmla="*/ 1475316 w 1475316"/>
                  <a:gd name="connsiteY2" fmla="*/ 1289050 h 1289050"/>
                  <a:gd name="connsiteX3" fmla="*/ 110066 w 1475316"/>
                  <a:gd name="connsiteY3" fmla="*/ 495300 h 1289050"/>
                  <a:gd name="connsiteX4" fmla="*/ 33866 w 1475316"/>
                  <a:gd name="connsiteY4" fmla="*/ 25400 h 1289050"/>
                  <a:gd name="connsiteX0" fmla="*/ 33866 w 1475316"/>
                  <a:gd name="connsiteY0" fmla="*/ 485472 h 1749122"/>
                  <a:gd name="connsiteX1" fmla="*/ 1367366 w 1475316"/>
                  <a:gd name="connsiteY1" fmla="*/ 460072 h 1749122"/>
                  <a:gd name="connsiteX2" fmla="*/ 1475316 w 1475316"/>
                  <a:gd name="connsiteY2" fmla="*/ 1749122 h 1749122"/>
                  <a:gd name="connsiteX3" fmla="*/ 110066 w 1475316"/>
                  <a:gd name="connsiteY3" fmla="*/ 955372 h 1749122"/>
                  <a:gd name="connsiteX4" fmla="*/ 33866 w 1475316"/>
                  <a:gd name="connsiteY4" fmla="*/ 485472 h 1749122"/>
                  <a:gd name="connsiteX0" fmla="*/ 33866 w 1475316"/>
                  <a:gd name="connsiteY0" fmla="*/ 756462 h 2020112"/>
                  <a:gd name="connsiteX1" fmla="*/ 1367366 w 1475316"/>
                  <a:gd name="connsiteY1" fmla="*/ 731062 h 2020112"/>
                  <a:gd name="connsiteX2" fmla="*/ 1475316 w 1475316"/>
                  <a:gd name="connsiteY2" fmla="*/ 2020112 h 2020112"/>
                  <a:gd name="connsiteX3" fmla="*/ 110066 w 1475316"/>
                  <a:gd name="connsiteY3" fmla="*/ 1226362 h 2020112"/>
                  <a:gd name="connsiteX4" fmla="*/ 33866 w 1475316"/>
                  <a:gd name="connsiteY4" fmla="*/ 756462 h 2020112"/>
                  <a:gd name="connsiteX0" fmla="*/ 33866 w 1475316"/>
                  <a:gd name="connsiteY0" fmla="*/ 817612 h 2081262"/>
                  <a:gd name="connsiteX1" fmla="*/ 1367366 w 1475316"/>
                  <a:gd name="connsiteY1" fmla="*/ 792212 h 2081262"/>
                  <a:gd name="connsiteX2" fmla="*/ 1475316 w 1475316"/>
                  <a:gd name="connsiteY2" fmla="*/ 2081262 h 2081262"/>
                  <a:gd name="connsiteX3" fmla="*/ 110066 w 1475316"/>
                  <a:gd name="connsiteY3" fmla="*/ 1287512 h 2081262"/>
                  <a:gd name="connsiteX4" fmla="*/ 33866 w 1475316"/>
                  <a:gd name="connsiteY4" fmla="*/ 817612 h 2081262"/>
                  <a:gd name="connsiteX0" fmla="*/ 35818 w 1477268"/>
                  <a:gd name="connsiteY0" fmla="*/ 917181 h 2180831"/>
                  <a:gd name="connsiteX1" fmla="*/ 1369318 w 1477268"/>
                  <a:gd name="connsiteY1" fmla="*/ 891781 h 2180831"/>
                  <a:gd name="connsiteX2" fmla="*/ 1477268 w 1477268"/>
                  <a:gd name="connsiteY2" fmla="*/ 2180831 h 2180831"/>
                  <a:gd name="connsiteX3" fmla="*/ 112018 w 1477268"/>
                  <a:gd name="connsiteY3" fmla="*/ 1387081 h 2180831"/>
                  <a:gd name="connsiteX4" fmla="*/ 35818 w 1477268"/>
                  <a:gd name="connsiteY4" fmla="*/ 917181 h 2180831"/>
                  <a:gd name="connsiteX0" fmla="*/ 35124 w 1476574"/>
                  <a:gd name="connsiteY0" fmla="*/ 940011 h 2203661"/>
                  <a:gd name="connsiteX1" fmla="*/ 1368624 w 1476574"/>
                  <a:gd name="connsiteY1" fmla="*/ 914611 h 2203661"/>
                  <a:gd name="connsiteX2" fmla="*/ 1476574 w 1476574"/>
                  <a:gd name="connsiteY2" fmla="*/ 2203661 h 2203661"/>
                  <a:gd name="connsiteX3" fmla="*/ 111324 w 1476574"/>
                  <a:gd name="connsiteY3" fmla="*/ 1409911 h 2203661"/>
                  <a:gd name="connsiteX4" fmla="*/ 35124 w 1476574"/>
                  <a:gd name="connsiteY4" fmla="*/ 940011 h 22036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919 w 1406139"/>
                  <a:gd name="connsiteY0" fmla="*/ 935418 h 1424368"/>
                  <a:gd name="connsiteX1" fmla="*/ 1369419 w 1406139"/>
                  <a:gd name="connsiteY1" fmla="*/ 910018 h 1424368"/>
                  <a:gd name="connsiteX2" fmla="*/ 1280519 w 1406139"/>
                  <a:gd name="connsiteY2" fmla="*/ 1424368 h 1424368"/>
                  <a:gd name="connsiteX3" fmla="*/ 112119 w 1406139"/>
                  <a:gd name="connsiteY3" fmla="*/ 1405318 h 1424368"/>
                  <a:gd name="connsiteX4" fmla="*/ 35919 w 1406139"/>
                  <a:gd name="connsiteY4" fmla="*/ 935418 h 1424368"/>
                  <a:gd name="connsiteX0" fmla="*/ 35819 w 1406482"/>
                  <a:gd name="connsiteY0" fmla="*/ 951556 h 1440506"/>
                  <a:gd name="connsiteX1" fmla="*/ 1369319 w 1406482"/>
                  <a:gd name="connsiteY1" fmla="*/ 926156 h 1440506"/>
                  <a:gd name="connsiteX2" fmla="*/ 1280419 w 1406482"/>
                  <a:gd name="connsiteY2" fmla="*/ 1440506 h 1440506"/>
                  <a:gd name="connsiteX3" fmla="*/ 112019 w 1406482"/>
                  <a:gd name="connsiteY3" fmla="*/ 1421456 h 1440506"/>
                  <a:gd name="connsiteX4" fmla="*/ 35819 w 1406482"/>
                  <a:gd name="connsiteY4" fmla="*/ 951556 h 1440506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112019 w 1406482"/>
                  <a:gd name="connsiteY3" fmla="*/ 1404431 h 1423481"/>
                  <a:gd name="connsiteX4" fmla="*/ 35819 w 1406482"/>
                  <a:gd name="connsiteY4" fmla="*/ 934531 h 1423481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594619 w 1406482"/>
                  <a:gd name="connsiteY3" fmla="*/ 1417131 h 1423481"/>
                  <a:gd name="connsiteX4" fmla="*/ 112019 w 1406482"/>
                  <a:gd name="connsiteY4" fmla="*/ 1404431 h 1423481"/>
                  <a:gd name="connsiteX5" fmla="*/ 35819 w 1406482"/>
                  <a:gd name="connsiteY5" fmla="*/ 934531 h 142348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342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981969 w 1406482"/>
                  <a:gd name="connsiteY3" fmla="*/ 1563181 h 1899731"/>
                  <a:gd name="connsiteX4" fmla="*/ 308869 w 1406482"/>
                  <a:gd name="connsiteY4" fmla="*/ 1899731 h 1899731"/>
                  <a:gd name="connsiteX5" fmla="*/ 112019 w 1406482"/>
                  <a:gd name="connsiteY5" fmla="*/ 1404431 h 1899731"/>
                  <a:gd name="connsiteX6" fmla="*/ 35819 w 1406482"/>
                  <a:gd name="connsiteY6" fmla="*/ 934531 h 189973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531119 w 1406482"/>
                  <a:gd name="connsiteY4" fmla="*/ 1906081 h 1918781"/>
                  <a:gd name="connsiteX5" fmla="*/ 308869 w 1406482"/>
                  <a:gd name="connsiteY5" fmla="*/ 1899731 h 1918781"/>
                  <a:gd name="connsiteX6" fmla="*/ 112019 w 1406482"/>
                  <a:gd name="connsiteY6" fmla="*/ 1404431 h 1918781"/>
                  <a:gd name="connsiteX7" fmla="*/ 35819 w 1406482"/>
                  <a:gd name="connsiteY7" fmla="*/ 934531 h 191878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0 w 1472263"/>
                  <a:gd name="connsiteY4" fmla="*/ 2496631 h 2496631"/>
                  <a:gd name="connsiteX5" fmla="*/ 374650 w 1472263"/>
                  <a:gd name="connsiteY5" fmla="*/ 1899731 h 2496631"/>
                  <a:gd name="connsiteX6" fmla="*/ 177800 w 1472263"/>
                  <a:gd name="connsiteY6" fmla="*/ 1404431 h 2496631"/>
                  <a:gd name="connsiteX7" fmla="*/ 101600 w 1472263"/>
                  <a:gd name="connsiteY7" fmla="*/ 934531 h 249663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577851 w 1472263"/>
                  <a:gd name="connsiteY4" fmla="*/ 2185481 h 2496631"/>
                  <a:gd name="connsiteX5" fmla="*/ 0 w 1472263"/>
                  <a:gd name="connsiteY5" fmla="*/ 2496631 h 2496631"/>
                  <a:gd name="connsiteX6" fmla="*/ 374650 w 1472263"/>
                  <a:gd name="connsiteY6" fmla="*/ 1899731 h 2496631"/>
                  <a:gd name="connsiteX7" fmla="*/ 177800 w 1472263"/>
                  <a:gd name="connsiteY7" fmla="*/ 1404431 h 2496631"/>
                  <a:gd name="connsiteX8" fmla="*/ 101600 w 1472263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10419 w 1426470"/>
                  <a:gd name="connsiteY5" fmla="*/ 24458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267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50800 w 1441451"/>
                  <a:gd name="connsiteY0" fmla="*/ 934531 h 2458531"/>
                  <a:gd name="connsiteX1" fmla="*/ 1384300 w 1441451"/>
                  <a:gd name="connsiteY1" fmla="*/ 909131 h 2458531"/>
                  <a:gd name="connsiteX2" fmla="*/ 1295400 w 1441451"/>
                  <a:gd name="connsiteY2" fmla="*/ 1423481 h 2458531"/>
                  <a:gd name="connsiteX3" fmla="*/ 1104900 w 1441451"/>
                  <a:gd name="connsiteY3" fmla="*/ 1918781 h 2458531"/>
                  <a:gd name="connsiteX4" fmla="*/ 1441451 w 1441451"/>
                  <a:gd name="connsiteY4" fmla="*/ 2458531 h 2458531"/>
                  <a:gd name="connsiteX5" fmla="*/ 0 w 1441451"/>
                  <a:gd name="connsiteY5" fmla="*/ 2445831 h 2458531"/>
                  <a:gd name="connsiteX6" fmla="*/ 323850 w 1441451"/>
                  <a:gd name="connsiteY6" fmla="*/ 1899731 h 2458531"/>
                  <a:gd name="connsiteX7" fmla="*/ 127000 w 1441451"/>
                  <a:gd name="connsiteY7" fmla="*/ 1404431 h 2458531"/>
                  <a:gd name="connsiteX8" fmla="*/ 50800 w 144145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419101 w 1435101"/>
                  <a:gd name="connsiteY5" fmla="*/ 2458531 h 2458531"/>
                  <a:gd name="connsiteX6" fmla="*/ 0 w 1435101"/>
                  <a:gd name="connsiteY6" fmla="*/ 2458531 h 2458531"/>
                  <a:gd name="connsiteX7" fmla="*/ 317500 w 1435101"/>
                  <a:gd name="connsiteY7" fmla="*/ 1899731 h 2458531"/>
                  <a:gd name="connsiteX8" fmla="*/ 120650 w 1435101"/>
                  <a:gd name="connsiteY8" fmla="*/ 1404431 h 2458531"/>
                  <a:gd name="connsiteX9" fmla="*/ 44450 w 1435101"/>
                  <a:gd name="connsiteY9" fmla="*/ 934531 h 2458531"/>
                  <a:gd name="connsiteX0" fmla="*/ 901699 w 2292350"/>
                  <a:gd name="connsiteY0" fmla="*/ 934531 h 2953831"/>
                  <a:gd name="connsiteX1" fmla="*/ 2235199 w 2292350"/>
                  <a:gd name="connsiteY1" fmla="*/ 909131 h 2953831"/>
                  <a:gd name="connsiteX2" fmla="*/ 2146299 w 2292350"/>
                  <a:gd name="connsiteY2" fmla="*/ 1423481 h 2953831"/>
                  <a:gd name="connsiteX3" fmla="*/ 1968499 w 2292350"/>
                  <a:gd name="connsiteY3" fmla="*/ 1893381 h 2953831"/>
                  <a:gd name="connsiteX4" fmla="*/ 2292350 w 2292350"/>
                  <a:gd name="connsiteY4" fmla="*/ 2458531 h 2953831"/>
                  <a:gd name="connsiteX5" fmla="*/ 0 w 2292350"/>
                  <a:gd name="connsiteY5" fmla="*/ 2953831 h 2953831"/>
                  <a:gd name="connsiteX6" fmla="*/ 857249 w 2292350"/>
                  <a:gd name="connsiteY6" fmla="*/ 2458531 h 2953831"/>
                  <a:gd name="connsiteX7" fmla="*/ 1174749 w 2292350"/>
                  <a:gd name="connsiteY7" fmla="*/ 1899731 h 2953831"/>
                  <a:gd name="connsiteX8" fmla="*/ 977899 w 2292350"/>
                  <a:gd name="connsiteY8" fmla="*/ 1404431 h 2953831"/>
                  <a:gd name="connsiteX9" fmla="*/ 901699 w 229235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1708150 w 2260600"/>
                  <a:gd name="connsiteY5" fmla="*/ 2585531 h 2953831"/>
                  <a:gd name="connsiteX6" fmla="*/ 0 w 2260600"/>
                  <a:gd name="connsiteY6" fmla="*/ 2953831 h 2953831"/>
                  <a:gd name="connsiteX7" fmla="*/ 825499 w 2260600"/>
                  <a:gd name="connsiteY7" fmla="*/ 2458531 h 2953831"/>
                  <a:gd name="connsiteX8" fmla="*/ 1142999 w 2260600"/>
                  <a:gd name="connsiteY8" fmla="*/ 1899731 h 2953831"/>
                  <a:gd name="connsiteX9" fmla="*/ 946149 w 2260600"/>
                  <a:gd name="connsiteY9" fmla="*/ 1404431 h 2953831"/>
                  <a:gd name="connsiteX10" fmla="*/ 869949 w 226060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2463800 w 3067050"/>
                  <a:gd name="connsiteY6" fmla="*/ 2947481 h 2953831"/>
                  <a:gd name="connsiteX7" fmla="*/ 0 w 3067050"/>
                  <a:gd name="connsiteY7" fmla="*/ 2953831 h 2953831"/>
                  <a:gd name="connsiteX8" fmla="*/ 825499 w 3067050"/>
                  <a:gd name="connsiteY8" fmla="*/ 2458531 h 2953831"/>
                  <a:gd name="connsiteX9" fmla="*/ 1142999 w 3067050"/>
                  <a:gd name="connsiteY9" fmla="*/ 1899731 h 2953831"/>
                  <a:gd name="connsiteX10" fmla="*/ 946149 w 3067050"/>
                  <a:gd name="connsiteY10" fmla="*/ 1404431 h 2953831"/>
                  <a:gd name="connsiteX11" fmla="*/ 869949 w 3067050"/>
                  <a:gd name="connsiteY11" fmla="*/ 934531 h 29538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450850 w 3079750"/>
                  <a:gd name="connsiteY7" fmla="*/ 3042731 h 3639631"/>
                  <a:gd name="connsiteX8" fmla="*/ 0 w 3079750"/>
                  <a:gd name="connsiteY8" fmla="*/ 2953831 h 3639631"/>
                  <a:gd name="connsiteX9" fmla="*/ 825499 w 3079750"/>
                  <a:gd name="connsiteY9" fmla="*/ 2458531 h 3639631"/>
                  <a:gd name="connsiteX10" fmla="*/ 1142999 w 3079750"/>
                  <a:gd name="connsiteY10" fmla="*/ 1899731 h 3639631"/>
                  <a:gd name="connsiteX11" fmla="*/ 946149 w 3079750"/>
                  <a:gd name="connsiteY11" fmla="*/ 1404431 h 3639631"/>
                  <a:gd name="connsiteX12" fmla="*/ 869949 w 3079750"/>
                  <a:gd name="connsiteY12" fmla="*/ 934531 h 3639631"/>
                  <a:gd name="connsiteX0" fmla="*/ 882649 w 3092450"/>
                  <a:gd name="connsiteY0" fmla="*/ 934531 h 3665031"/>
                  <a:gd name="connsiteX1" fmla="*/ 2216149 w 3092450"/>
                  <a:gd name="connsiteY1" fmla="*/ 909131 h 3665031"/>
                  <a:gd name="connsiteX2" fmla="*/ 2127249 w 3092450"/>
                  <a:gd name="connsiteY2" fmla="*/ 1423481 h 3665031"/>
                  <a:gd name="connsiteX3" fmla="*/ 1949449 w 3092450"/>
                  <a:gd name="connsiteY3" fmla="*/ 1893381 h 3665031"/>
                  <a:gd name="connsiteX4" fmla="*/ 2273300 w 3092450"/>
                  <a:gd name="connsiteY4" fmla="*/ 2458531 h 3665031"/>
                  <a:gd name="connsiteX5" fmla="*/ 3079750 w 3092450"/>
                  <a:gd name="connsiteY5" fmla="*/ 2953831 h 3665031"/>
                  <a:gd name="connsiteX6" fmla="*/ 3092450 w 3092450"/>
                  <a:gd name="connsiteY6" fmla="*/ 3639631 h 3665031"/>
                  <a:gd name="connsiteX7" fmla="*/ 0 w 3092450"/>
                  <a:gd name="connsiteY7" fmla="*/ 3665031 h 3665031"/>
                  <a:gd name="connsiteX8" fmla="*/ 12700 w 3092450"/>
                  <a:gd name="connsiteY8" fmla="*/ 2953831 h 3665031"/>
                  <a:gd name="connsiteX9" fmla="*/ 838199 w 3092450"/>
                  <a:gd name="connsiteY9" fmla="*/ 2458531 h 3665031"/>
                  <a:gd name="connsiteX10" fmla="*/ 1155699 w 3092450"/>
                  <a:gd name="connsiteY10" fmla="*/ 1899731 h 3665031"/>
                  <a:gd name="connsiteX11" fmla="*/ 958849 w 3092450"/>
                  <a:gd name="connsiteY11" fmla="*/ 1404431 h 3665031"/>
                  <a:gd name="connsiteX12" fmla="*/ 882649 w 3092450"/>
                  <a:gd name="connsiteY12" fmla="*/ 934531 h 3665031"/>
                  <a:gd name="connsiteX0" fmla="*/ 869949 w 3079750"/>
                  <a:gd name="connsiteY0" fmla="*/ 934531 h 3665031"/>
                  <a:gd name="connsiteX1" fmla="*/ 2203449 w 3079750"/>
                  <a:gd name="connsiteY1" fmla="*/ 909131 h 3665031"/>
                  <a:gd name="connsiteX2" fmla="*/ 2114549 w 3079750"/>
                  <a:gd name="connsiteY2" fmla="*/ 1423481 h 3665031"/>
                  <a:gd name="connsiteX3" fmla="*/ 1936749 w 3079750"/>
                  <a:gd name="connsiteY3" fmla="*/ 1893381 h 3665031"/>
                  <a:gd name="connsiteX4" fmla="*/ 2260600 w 3079750"/>
                  <a:gd name="connsiteY4" fmla="*/ 2458531 h 3665031"/>
                  <a:gd name="connsiteX5" fmla="*/ 3067050 w 3079750"/>
                  <a:gd name="connsiteY5" fmla="*/ 2953831 h 3665031"/>
                  <a:gd name="connsiteX6" fmla="*/ 3079750 w 3079750"/>
                  <a:gd name="connsiteY6" fmla="*/ 3639631 h 3665031"/>
                  <a:gd name="connsiteX7" fmla="*/ 0 w 3079750"/>
                  <a:gd name="connsiteY7" fmla="*/ 3665031 h 3665031"/>
                  <a:gd name="connsiteX8" fmla="*/ 0 w 3079750"/>
                  <a:gd name="connsiteY8" fmla="*/ 2953831 h 3665031"/>
                  <a:gd name="connsiteX9" fmla="*/ 825499 w 3079750"/>
                  <a:gd name="connsiteY9" fmla="*/ 2458531 h 3665031"/>
                  <a:gd name="connsiteX10" fmla="*/ 1142999 w 3079750"/>
                  <a:gd name="connsiteY10" fmla="*/ 1899731 h 3665031"/>
                  <a:gd name="connsiteX11" fmla="*/ 946149 w 3079750"/>
                  <a:gd name="connsiteY11" fmla="*/ 1404431 h 3665031"/>
                  <a:gd name="connsiteX12" fmla="*/ 869949 w 307975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73400" h="3665031">
                    <a:moveTo>
                      <a:pt x="869949" y="934531"/>
                    </a:moveTo>
                    <a:cubicBezTo>
                      <a:pt x="546099" y="-362986"/>
                      <a:pt x="2533649" y="-250802"/>
                      <a:pt x="2203449" y="909131"/>
                    </a:cubicBezTo>
                    <a:cubicBezTo>
                      <a:pt x="2281766" y="1080581"/>
                      <a:pt x="2226732" y="1252031"/>
                      <a:pt x="2114549" y="1423481"/>
                    </a:cubicBezTo>
                    <a:cubicBezTo>
                      <a:pt x="2108199" y="1633031"/>
                      <a:pt x="2057399" y="1715581"/>
                      <a:pt x="1936749" y="1893381"/>
                    </a:cubicBezTo>
                    <a:cubicBezTo>
                      <a:pt x="1934633" y="2365398"/>
                      <a:pt x="1932516" y="2329414"/>
                      <a:pt x="2260600" y="2458531"/>
                    </a:cubicBezTo>
                    <a:cubicBezTo>
                      <a:pt x="2599267" y="2598231"/>
                      <a:pt x="3020483" y="2731581"/>
                      <a:pt x="3067050" y="2953831"/>
                    </a:cubicBezTo>
                    <a:cubicBezTo>
                      <a:pt x="3069167" y="3190898"/>
                      <a:pt x="3071283" y="3427964"/>
                      <a:pt x="3073400" y="3665031"/>
                    </a:cubicBezTo>
                    <a:lnTo>
                      <a:pt x="0" y="3665031"/>
                    </a:lnTo>
                    <a:lnTo>
                      <a:pt x="0" y="2953831"/>
                    </a:lnTo>
                    <a:cubicBezTo>
                      <a:pt x="27516" y="2769681"/>
                      <a:pt x="423333" y="2585531"/>
                      <a:pt x="825499" y="2458531"/>
                    </a:cubicBezTo>
                    <a:cubicBezTo>
                      <a:pt x="1083732" y="2361164"/>
                      <a:pt x="1164166" y="2384448"/>
                      <a:pt x="1142999" y="1899731"/>
                    </a:cubicBezTo>
                    <a:cubicBezTo>
                      <a:pt x="982132" y="1728281"/>
                      <a:pt x="973666" y="1563181"/>
                      <a:pt x="946149" y="1404431"/>
                    </a:cubicBezTo>
                    <a:cubicBezTo>
                      <a:pt x="844549" y="1247798"/>
                      <a:pt x="800099" y="1046714"/>
                      <a:pt x="869949" y="9345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132" name="Rectangle 2">
                <a:extLst>
                  <a:ext uri="{FF2B5EF4-FFF2-40B4-BE49-F238E27FC236}">
                    <a16:creationId xmlns:a16="http://schemas.microsoft.com/office/drawing/2014/main" id="{CF97E11B-46AC-4242-99FA-C7A138156104}"/>
                  </a:ext>
                </a:extLst>
              </p:cNvPr>
              <p:cNvSpPr/>
              <p:nvPr/>
            </p:nvSpPr>
            <p:spPr>
              <a:xfrm>
                <a:off x="929129" y="2194073"/>
                <a:ext cx="142342" cy="169742"/>
              </a:xfrm>
              <a:custGeom>
                <a:avLst/>
                <a:gdLst>
                  <a:gd name="connsiteX0" fmla="*/ 0 w 1924050"/>
                  <a:gd name="connsiteY0" fmla="*/ 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0 w 1924050"/>
                  <a:gd name="connsiteY4" fmla="*/ 0 h 2159000"/>
                  <a:gd name="connsiteX0" fmla="*/ 463550 w 1924050"/>
                  <a:gd name="connsiteY0" fmla="*/ 895350 h 2159000"/>
                  <a:gd name="connsiteX1" fmla="*/ 1924050 w 1924050"/>
                  <a:gd name="connsiteY1" fmla="*/ 0 h 2159000"/>
                  <a:gd name="connsiteX2" fmla="*/ 1924050 w 1924050"/>
                  <a:gd name="connsiteY2" fmla="*/ 2159000 h 2159000"/>
                  <a:gd name="connsiteX3" fmla="*/ 0 w 1924050"/>
                  <a:gd name="connsiteY3" fmla="*/ 2159000 h 2159000"/>
                  <a:gd name="connsiteX4" fmla="*/ 463550 w 192405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60500"/>
                  <a:gd name="connsiteY0" fmla="*/ 895350 h 2159000"/>
                  <a:gd name="connsiteX1" fmla="*/ 1460500 w 1460500"/>
                  <a:gd name="connsiteY1" fmla="*/ 0 h 2159000"/>
                  <a:gd name="connsiteX2" fmla="*/ 1460500 w 1460500"/>
                  <a:gd name="connsiteY2" fmla="*/ 2159000 h 2159000"/>
                  <a:gd name="connsiteX3" fmla="*/ 95250 w 1460500"/>
                  <a:gd name="connsiteY3" fmla="*/ 1384300 h 2159000"/>
                  <a:gd name="connsiteX4" fmla="*/ 0 w 1460500"/>
                  <a:gd name="connsiteY4" fmla="*/ 895350 h 2159000"/>
                  <a:gd name="connsiteX0" fmla="*/ 0 w 1441450"/>
                  <a:gd name="connsiteY0" fmla="*/ 895350 h 2159000"/>
                  <a:gd name="connsiteX1" fmla="*/ 1441450 w 1441450"/>
                  <a:gd name="connsiteY1" fmla="*/ 0 h 2159000"/>
                  <a:gd name="connsiteX2" fmla="*/ 1441450 w 1441450"/>
                  <a:gd name="connsiteY2" fmla="*/ 2159000 h 2159000"/>
                  <a:gd name="connsiteX3" fmla="*/ 76200 w 1441450"/>
                  <a:gd name="connsiteY3" fmla="*/ 1384300 h 2159000"/>
                  <a:gd name="connsiteX4" fmla="*/ 0 w 1441450"/>
                  <a:gd name="connsiteY4" fmla="*/ 895350 h 2159000"/>
                  <a:gd name="connsiteX0" fmla="*/ 25400 w 1466850"/>
                  <a:gd name="connsiteY0" fmla="*/ 895350 h 2159000"/>
                  <a:gd name="connsiteX1" fmla="*/ 1466850 w 1466850"/>
                  <a:gd name="connsiteY1" fmla="*/ 0 h 2159000"/>
                  <a:gd name="connsiteX2" fmla="*/ 1466850 w 1466850"/>
                  <a:gd name="connsiteY2" fmla="*/ 2159000 h 2159000"/>
                  <a:gd name="connsiteX3" fmla="*/ 101600 w 1466850"/>
                  <a:gd name="connsiteY3" fmla="*/ 1384300 h 2159000"/>
                  <a:gd name="connsiteX4" fmla="*/ 25400 w 1466850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84300 h 2159000"/>
                  <a:gd name="connsiteX4" fmla="*/ 33866 w 1475316"/>
                  <a:gd name="connsiteY4" fmla="*/ 895350 h 2159000"/>
                  <a:gd name="connsiteX0" fmla="*/ 33866 w 1475316"/>
                  <a:gd name="connsiteY0" fmla="*/ 895350 h 2159000"/>
                  <a:gd name="connsiteX1" fmla="*/ 1475316 w 1475316"/>
                  <a:gd name="connsiteY1" fmla="*/ 0 h 2159000"/>
                  <a:gd name="connsiteX2" fmla="*/ 1475316 w 1475316"/>
                  <a:gd name="connsiteY2" fmla="*/ 2159000 h 2159000"/>
                  <a:gd name="connsiteX3" fmla="*/ 110066 w 1475316"/>
                  <a:gd name="connsiteY3" fmla="*/ 1365250 h 2159000"/>
                  <a:gd name="connsiteX4" fmla="*/ 33866 w 1475316"/>
                  <a:gd name="connsiteY4" fmla="*/ 895350 h 2159000"/>
                  <a:gd name="connsiteX0" fmla="*/ 33866 w 1475316"/>
                  <a:gd name="connsiteY0" fmla="*/ 25400 h 1289050"/>
                  <a:gd name="connsiteX1" fmla="*/ 1367366 w 1475316"/>
                  <a:gd name="connsiteY1" fmla="*/ 0 h 1289050"/>
                  <a:gd name="connsiteX2" fmla="*/ 1475316 w 1475316"/>
                  <a:gd name="connsiteY2" fmla="*/ 1289050 h 1289050"/>
                  <a:gd name="connsiteX3" fmla="*/ 110066 w 1475316"/>
                  <a:gd name="connsiteY3" fmla="*/ 495300 h 1289050"/>
                  <a:gd name="connsiteX4" fmla="*/ 33866 w 1475316"/>
                  <a:gd name="connsiteY4" fmla="*/ 25400 h 1289050"/>
                  <a:gd name="connsiteX0" fmla="*/ 33866 w 1475316"/>
                  <a:gd name="connsiteY0" fmla="*/ 485472 h 1749122"/>
                  <a:gd name="connsiteX1" fmla="*/ 1367366 w 1475316"/>
                  <a:gd name="connsiteY1" fmla="*/ 460072 h 1749122"/>
                  <a:gd name="connsiteX2" fmla="*/ 1475316 w 1475316"/>
                  <a:gd name="connsiteY2" fmla="*/ 1749122 h 1749122"/>
                  <a:gd name="connsiteX3" fmla="*/ 110066 w 1475316"/>
                  <a:gd name="connsiteY3" fmla="*/ 955372 h 1749122"/>
                  <a:gd name="connsiteX4" fmla="*/ 33866 w 1475316"/>
                  <a:gd name="connsiteY4" fmla="*/ 485472 h 1749122"/>
                  <a:gd name="connsiteX0" fmla="*/ 33866 w 1475316"/>
                  <a:gd name="connsiteY0" fmla="*/ 756462 h 2020112"/>
                  <a:gd name="connsiteX1" fmla="*/ 1367366 w 1475316"/>
                  <a:gd name="connsiteY1" fmla="*/ 731062 h 2020112"/>
                  <a:gd name="connsiteX2" fmla="*/ 1475316 w 1475316"/>
                  <a:gd name="connsiteY2" fmla="*/ 2020112 h 2020112"/>
                  <a:gd name="connsiteX3" fmla="*/ 110066 w 1475316"/>
                  <a:gd name="connsiteY3" fmla="*/ 1226362 h 2020112"/>
                  <a:gd name="connsiteX4" fmla="*/ 33866 w 1475316"/>
                  <a:gd name="connsiteY4" fmla="*/ 756462 h 2020112"/>
                  <a:gd name="connsiteX0" fmla="*/ 33866 w 1475316"/>
                  <a:gd name="connsiteY0" fmla="*/ 817612 h 2081262"/>
                  <a:gd name="connsiteX1" fmla="*/ 1367366 w 1475316"/>
                  <a:gd name="connsiteY1" fmla="*/ 792212 h 2081262"/>
                  <a:gd name="connsiteX2" fmla="*/ 1475316 w 1475316"/>
                  <a:gd name="connsiteY2" fmla="*/ 2081262 h 2081262"/>
                  <a:gd name="connsiteX3" fmla="*/ 110066 w 1475316"/>
                  <a:gd name="connsiteY3" fmla="*/ 1287512 h 2081262"/>
                  <a:gd name="connsiteX4" fmla="*/ 33866 w 1475316"/>
                  <a:gd name="connsiteY4" fmla="*/ 817612 h 2081262"/>
                  <a:gd name="connsiteX0" fmla="*/ 35818 w 1477268"/>
                  <a:gd name="connsiteY0" fmla="*/ 917181 h 2180831"/>
                  <a:gd name="connsiteX1" fmla="*/ 1369318 w 1477268"/>
                  <a:gd name="connsiteY1" fmla="*/ 891781 h 2180831"/>
                  <a:gd name="connsiteX2" fmla="*/ 1477268 w 1477268"/>
                  <a:gd name="connsiteY2" fmla="*/ 2180831 h 2180831"/>
                  <a:gd name="connsiteX3" fmla="*/ 112018 w 1477268"/>
                  <a:gd name="connsiteY3" fmla="*/ 1387081 h 2180831"/>
                  <a:gd name="connsiteX4" fmla="*/ 35818 w 1477268"/>
                  <a:gd name="connsiteY4" fmla="*/ 917181 h 2180831"/>
                  <a:gd name="connsiteX0" fmla="*/ 35124 w 1476574"/>
                  <a:gd name="connsiteY0" fmla="*/ 940011 h 2203661"/>
                  <a:gd name="connsiteX1" fmla="*/ 1368624 w 1476574"/>
                  <a:gd name="connsiteY1" fmla="*/ 914611 h 2203661"/>
                  <a:gd name="connsiteX2" fmla="*/ 1476574 w 1476574"/>
                  <a:gd name="connsiteY2" fmla="*/ 2203661 h 2203661"/>
                  <a:gd name="connsiteX3" fmla="*/ 111324 w 1476574"/>
                  <a:gd name="connsiteY3" fmla="*/ 1409911 h 2203661"/>
                  <a:gd name="connsiteX4" fmla="*/ 35124 w 1476574"/>
                  <a:gd name="connsiteY4" fmla="*/ 940011 h 22036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124 w 1414920"/>
                  <a:gd name="connsiteY0" fmla="*/ 940011 h 1428961"/>
                  <a:gd name="connsiteX1" fmla="*/ 1368624 w 1414920"/>
                  <a:gd name="connsiteY1" fmla="*/ 914611 h 1428961"/>
                  <a:gd name="connsiteX2" fmla="*/ 1279724 w 1414920"/>
                  <a:gd name="connsiteY2" fmla="*/ 1428961 h 1428961"/>
                  <a:gd name="connsiteX3" fmla="*/ 111324 w 1414920"/>
                  <a:gd name="connsiteY3" fmla="*/ 1409911 h 1428961"/>
                  <a:gd name="connsiteX4" fmla="*/ 35124 w 1414920"/>
                  <a:gd name="connsiteY4" fmla="*/ 940011 h 1428961"/>
                  <a:gd name="connsiteX0" fmla="*/ 35919 w 1406139"/>
                  <a:gd name="connsiteY0" fmla="*/ 935418 h 1424368"/>
                  <a:gd name="connsiteX1" fmla="*/ 1369419 w 1406139"/>
                  <a:gd name="connsiteY1" fmla="*/ 910018 h 1424368"/>
                  <a:gd name="connsiteX2" fmla="*/ 1280519 w 1406139"/>
                  <a:gd name="connsiteY2" fmla="*/ 1424368 h 1424368"/>
                  <a:gd name="connsiteX3" fmla="*/ 112119 w 1406139"/>
                  <a:gd name="connsiteY3" fmla="*/ 1405318 h 1424368"/>
                  <a:gd name="connsiteX4" fmla="*/ 35919 w 1406139"/>
                  <a:gd name="connsiteY4" fmla="*/ 935418 h 1424368"/>
                  <a:gd name="connsiteX0" fmla="*/ 35819 w 1406482"/>
                  <a:gd name="connsiteY0" fmla="*/ 951556 h 1440506"/>
                  <a:gd name="connsiteX1" fmla="*/ 1369319 w 1406482"/>
                  <a:gd name="connsiteY1" fmla="*/ 926156 h 1440506"/>
                  <a:gd name="connsiteX2" fmla="*/ 1280419 w 1406482"/>
                  <a:gd name="connsiteY2" fmla="*/ 1440506 h 1440506"/>
                  <a:gd name="connsiteX3" fmla="*/ 112019 w 1406482"/>
                  <a:gd name="connsiteY3" fmla="*/ 1421456 h 1440506"/>
                  <a:gd name="connsiteX4" fmla="*/ 35819 w 1406482"/>
                  <a:gd name="connsiteY4" fmla="*/ 951556 h 1440506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112019 w 1406482"/>
                  <a:gd name="connsiteY3" fmla="*/ 1404431 h 1423481"/>
                  <a:gd name="connsiteX4" fmla="*/ 35819 w 1406482"/>
                  <a:gd name="connsiteY4" fmla="*/ 934531 h 1423481"/>
                  <a:gd name="connsiteX0" fmla="*/ 35819 w 1406482"/>
                  <a:gd name="connsiteY0" fmla="*/ 934531 h 1423481"/>
                  <a:gd name="connsiteX1" fmla="*/ 1369319 w 1406482"/>
                  <a:gd name="connsiteY1" fmla="*/ 909131 h 1423481"/>
                  <a:gd name="connsiteX2" fmla="*/ 1280419 w 1406482"/>
                  <a:gd name="connsiteY2" fmla="*/ 1423481 h 1423481"/>
                  <a:gd name="connsiteX3" fmla="*/ 594619 w 1406482"/>
                  <a:gd name="connsiteY3" fmla="*/ 1417131 h 1423481"/>
                  <a:gd name="connsiteX4" fmla="*/ 112019 w 1406482"/>
                  <a:gd name="connsiteY4" fmla="*/ 1404431 h 1423481"/>
                  <a:gd name="connsiteX5" fmla="*/ 35819 w 1406482"/>
                  <a:gd name="connsiteY5" fmla="*/ 934531 h 142348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342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308869 w 1406482"/>
                  <a:gd name="connsiteY3" fmla="*/ 1899731 h 1899731"/>
                  <a:gd name="connsiteX4" fmla="*/ 112019 w 1406482"/>
                  <a:gd name="connsiteY4" fmla="*/ 1404431 h 1899731"/>
                  <a:gd name="connsiteX5" fmla="*/ 35819 w 1406482"/>
                  <a:gd name="connsiteY5" fmla="*/ 934531 h 1899731"/>
                  <a:gd name="connsiteX0" fmla="*/ 35819 w 1406482"/>
                  <a:gd name="connsiteY0" fmla="*/ 934531 h 1899731"/>
                  <a:gd name="connsiteX1" fmla="*/ 1369319 w 1406482"/>
                  <a:gd name="connsiteY1" fmla="*/ 909131 h 1899731"/>
                  <a:gd name="connsiteX2" fmla="*/ 1280419 w 1406482"/>
                  <a:gd name="connsiteY2" fmla="*/ 1423481 h 1899731"/>
                  <a:gd name="connsiteX3" fmla="*/ 981969 w 1406482"/>
                  <a:gd name="connsiteY3" fmla="*/ 1563181 h 1899731"/>
                  <a:gd name="connsiteX4" fmla="*/ 308869 w 1406482"/>
                  <a:gd name="connsiteY4" fmla="*/ 1899731 h 1899731"/>
                  <a:gd name="connsiteX5" fmla="*/ 112019 w 1406482"/>
                  <a:gd name="connsiteY5" fmla="*/ 1404431 h 1899731"/>
                  <a:gd name="connsiteX6" fmla="*/ 35819 w 1406482"/>
                  <a:gd name="connsiteY6" fmla="*/ 934531 h 189973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308869 w 1406482"/>
                  <a:gd name="connsiteY4" fmla="*/ 1899731 h 1918781"/>
                  <a:gd name="connsiteX5" fmla="*/ 112019 w 1406482"/>
                  <a:gd name="connsiteY5" fmla="*/ 1404431 h 1918781"/>
                  <a:gd name="connsiteX6" fmla="*/ 35819 w 1406482"/>
                  <a:gd name="connsiteY6" fmla="*/ 934531 h 1918781"/>
                  <a:gd name="connsiteX0" fmla="*/ 35819 w 1406482"/>
                  <a:gd name="connsiteY0" fmla="*/ 934531 h 1918781"/>
                  <a:gd name="connsiteX1" fmla="*/ 1369319 w 1406482"/>
                  <a:gd name="connsiteY1" fmla="*/ 909131 h 1918781"/>
                  <a:gd name="connsiteX2" fmla="*/ 1280419 w 1406482"/>
                  <a:gd name="connsiteY2" fmla="*/ 1423481 h 1918781"/>
                  <a:gd name="connsiteX3" fmla="*/ 1089919 w 1406482"/>
                  <a:gd name="connsiteY3" fmla="*/ 1918781 h 1918781"/>
                  <a:gd name="connsiteX4" fmla="*/ 531119 w 1406482"/>
                  <a:gd name="connsiteY4" fmla="*/ 1906081 h 1918781"/>
                  <a:gd name="connsiteX5" fmla="*/ 308869 w 1406482"/>
                  <a:gd name="connsiteY5" fmla="*/ 1899731 h 1918781"/>
                  <a:gd name="connsiteX6" fmla="*/ 112019 w 1406482"/>
                  <a:gd name="connsiteY6" fmla="*/ 1404431 h 1918781"/>
                  <a:gd name="connsiteX7" fmla="*/ 35819 w 1406482"/>
                  <a:gd name="connsiteY7" fmla="*/ 934531 h 191878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0 w 1472263"/>
                  <a:gd name="connsiteY4" fmla="*/ 2496631 h 2496631"/>
                  <a:gd name="connsiteX5" fmla="*/ 374650 w 1472263"/>
                  <a:gd name="connsiteY5" fmla="*/ 1899731 h 2496631"/>
                  <a:gd name="connsiteX6" fmla="*/ 177800 w 1472263"/>
                  <a:gd name="connsiteY6" fmla="*/ 1404431 h 2496631"/>
                  <a:gd name="connsiteX7" fmla="*/ 101600 w 1472263"/>
                  <a:gd name="connsiteY7" fmla="*/ 934531 h 2496631"/>
                  <a:gd name="connsiteX0" fmla="*/ 101600 w 1472263"/>
                  <a:gd name="connsiteY0" fmla="*/ 934531 h 2496631"/>
                  <a:gd name="connsiteX1" fmla="*/ 1435100 w 1472263"/>
                  <a:gd name="connsiteY1" fmla="*/ 909131 h 2496631"/>
                  <a:gd name="connsiteX2" fmla="*/ 1346200 w 1472263"/>
                  <a:gd name="connsiteY2" fmla="*/ 1423481 h 2496631"/>
                  <a:gd name="connsiteX3" fmla="*/ 1155700 w 1472263"/>
                  <a:gd name="connsiteY3" fmla="*/ 1918781 h 2496631"/>
                  <a:gd name="connsiteX4" fmla="*/ 577851 w 1472263"/>
                  <a:gd name="connsiteY4" fmla="*/ 2185481 h 2496631"/>
                  <a:gd name="connsiteX5" fmla="*/ 0 w 1472263"/>
                  <a:gd name="connsiteY5" fmla="*/ 2496631 h 2496631"/>
                  <a:gd name="connsiteX6" fmla="*/ 374650 w 1472263"/>
                  <a:gd name="connsiteY6" fmla="*/ 1899731 h 2496631"/>
                  <a:gd name="connsiteX7" fmla="*/ 177800 w 1472263"/>
                  <a:gd name="connsiteY7" fmla="*/ 1404431 h 2496631"/>
                  <a:gd name="connsiteX8" fmla="*/ 101600 w 1472263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101600 w 1492251"/>
                  <a:gd name="connsiteY0" fmla="*/ 934531 h 2496631"/>
                  <a:gd name="connsiteX1" fmla="*/ 1435100 w 1492251"/>
                  <a:gd name="connsiteY1" fmla="*/ 909131 h 2496631"/>
                  <a:gd name="connsiteX2" fmla="*/ 1346200 w 1492251"/>
                  <a:gd name="connsiteY2" fmla="*/ 1423481 h 2496631"/>
                  <a:gd name="connsiteX3" fmla="*/ 1155700 w 1492251"/>
                  <a:gd name="connsiteY3" fmla="*/ 1918781 h 2496631"/>
                  <a:gd name="connsiteX4" fmla="*/ 1492251 w 1492251"/>
                  <a:gd name="connsiteY4" fmla="*/ 2458531 h 2496631"/>
                  <a:gd name="connsiteX5" fmla="*/ 0 w 1492251"/>
                  <a:gd name="connsiteY5" fmla="*/ 2496631 h 2496631"/>
                  <a:gd name="connsiteX6" fmla="*/ 374650 w 1492251"/>
                  <a:gd name="connsiteY6" fmla="*/ 1899731 h 2496631"/>
                  <a:gd name="connsiteX7" fmla="*/ 177800 w 1492251"/>
                  <a:gd name="connsiteY7" fmla="*/ 1404431 h 2496631"/>
                  <a:gd name="connsiteX8" fmla="*/ 101600 w 1492251"/>
                  <a:gd name="connsiteY8" fmla="*/ 934531 h 24966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10419 w 1426470"/>
                  <a:gd name="connsiteY5" fmla="*/ 24458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267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42169 w 1426470"/>
                  <a:gd name="connsiteY5" fmla="*/ 243948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35819 w 1426470"/>
                  <a:gd name="connsiteY0" fmla="*/ 934531 h 2458531"/>
                  <a:gd name="connsiteX1" fmla="*/ 1369319 w 1426470"/>
                  <a:gd name="connsiteY1" fmla="*/ 909131 h 2458531"/>
                  <a:gd name="connsiteX2" fmla="*/ 1280419 w 1426470"/>
                  <a:gd name="connsiteY2" fmla="*/ 1423481 h 2458531"/>
                  <a:gd name="connsiteX3" fmla="*/ 1089919 w 1426470"/>
                  <a:gd name="connsiteY3" fmla="*/ 1918781 h 2458531"/>
                  <a:gd name="connsiteX4" fmla="*/ 1426470 w 1426470"/>
                  <a:gd name="connsiteY4" fmla="*/ 2458531 h 2458531"/>
                  <a:gd name="connsiteX5" fmla="*/ 29469 w 1426470"/>
                  <a:gd name="connsiteY5" fmla="*/ 2458531 h 2458531"/>
                  <a:gd name="connsiteX6" fmla="*/ 308869 w 1426470"/>
                  <a:gd name="connsiteY6" fmla="*/ 1899731 h 2458531"/>
                  <a:gd name="connsiteX7" fmla="*/ 112019 w 1426470"/>
                  <a:gd name="connsiteY7" fmla="*/ 1404431 h 2458531"/>
                  <a:gd name="connsiteX8" fmla="*/ 35819 w 1426470"/>
                  <a:gd name="connsiteY8" fmla="*/ 934531 h 2458531"/>
                  <a:gd name="connsiteX0" fmla="*/ 50800 w 1441451"/>
                  <a:gd name="connsiteY0" fmla="*/ 934531 h 2458531"/>
                  <a:gd name="connsiteX1" fmla="*/ 1384300 w 1441451"/>
                  <a:gd name="connsiteY1" fmla="*/ 909131 h 2458531"/>
                  <a:gd name="connsiteX2" fmla="*/ 1295400 w 1441451"/>
                  <a:gd name="connsiteY2" fmla="*/ 1423481 h 2458531"/>
                  <a:gd name="connsiteX3" fmla="*/ 1104900 w 1441451"/>
                  <a:gd name="connsiteY3" fmla="*/ 1918781 h 2458531"/>
                  <a:gd name="connsiteX4" fmla="*/ 1441451 w 1441451"/>
                  <a:gd name="connsiteY4" fmla="*/ 2458531 h 2458531"/>
                  <a:gd name="connsiteX5" fmla="*/ 0 w 1441451"/>
                  <a:gd name="connsiteY5" fmla="*/ 2445831 h 2458531"/>
                  <a:gd name="connsiteX6" fmla="*/ 323850 w 1441451"/>
                  <a:gd name="connsiteY6" fmla="*/ 1899731 h 2458531"/>
                  <a:gd name="connsiteX7" fmla="*/ 127000 w 1441451"/>
                  <a:gd name="connsiteY7" fmla="*/ 1404431 h 2458531"/>
                  <a:gd name="connsiteX8" fmla="*/ 50800 w 144145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098550 w 1435101"/>
                  <a:gd name="connsiteY3" fmla="*/ 19187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0 w 1435101"/>
                  <a:gd name="connsiteY5" fmla="*/ 2458531 h 2458531"/>
                  <a:gd name="connsiteX6" fmla="*/ 317500 w 1435101"/>
                  <a:gd name="connsiteY6" fmla="*/ 1899731 h 2458531"/>
                  <a:gd name="connsiteX7" fmla="*/ 120650 w 1435101"/>
                  <a:gd name="connsiteY7" fmla="*/ 1404431 h 2458531"/>
                  <a:gd name="connsiteX8" fmla="*/ 44450 w 1435101"/>
                  <a:gd name="connsiteY8" fmla="*/ 934531 h 2458531"/>
                  <a:gd name="connsiteX0" fmla="*/ 44450 w 1435101"/>
                  <a:gd name="connsiteY0" fmla="*/ 934531 h 2458531"/>
                  <a:gd name="connsiteX1" fmla="*/ 1377950 w 1435101"/>
                  <a:gd name="connsiteY1" fmla="*/ 909131 h 2458531"/>
                  <a:gd name="connsiteX2" fmla="*/ 1289050 w 1435101"/>
                  <a:gd name="connsiteY2" fmla="*/ 1423481 h 2458531"/>
                  <a:gd name="connsiteX3" fmla="*/ 1111250 w 1435101"/>
                  <a:gd name="connsiteY3" fmla="*/ 1893381 h 2458531"/>
                  <a:gd name="connsiteX4" fmla="*/ 1435101 w 1435101"/>
                  <a:gd name="connsiteY4" fmla="*/ 2458531 h 2458531"/>
                  <a:gd name="connsiteX5" fmla="*/ 419101 w 1435101"/>
                  <a:gd name="connsiteY5" fmla="*/ 2458531 h 2458531"/>
                  <a:gd name="connsiteX6" fmla="*/ 0 w 1435101"/>
                  <a:gd name="connsiteY6" fmla="*/ 2458531 h 2458531"/>
                  <a:gd name="connsiteX7" fmla="*/ 317500 w 1435101"/>
                  <a:gd name="connsiteY7" fmla="*/ 1899731 h 2458531"/>
                  <a:gd name="connsiteX8" fmla="*/ 120650 w 1435101"/>
                  <a:gd name="connsiteY8" fmla="*/ 1404431 h 2458531"/>
                  <a:gd name="connsiteX9" fmla="*/ 44450 w 1435101"/>
                  <a:gd name="connsiteY9" fmla="*/ 934531 h 2458531"/>
                  <a:gd name="connsiteX0" fmla="*/ 901699 w 2292350"/>
                  <a:gd name="connsiteY0" fmla="*/ 934531 h 2953831"/>
                  <a:gd name="connsiteX1" fmla="*/ 2235199 w 2292350"/>
                  <a:gd name="connsiteY1" fmla="*/ 909131 h 2953831"/>
                  <a:gd name="connsiteX2" fmla="*/ 2146299 w 2292350"/>
                  <a:gd name="connsiteY2" fmla="*/ 1423481 h 2953831"/>
                  <a:gd name="connsiteX3" fmla="*/ 1968499 w 2292350"/>
                  <a:gd name="connsiteY3" fmla="*/ 1893381 h 2953831"/>
                  <a:gd name="connsiteX4" fmla="*/ 2292350 w 2292350"/>
                  <a:gd name="connsiteY4" fmla="*/ 2458531 h 2953831"/>
                  <a:gd name="connsiteX5" fmla="*/ 0 w 2292350"/>
                  <a:gd name="connsiteY5" fmla="*/ 2953831 h 2953831"/>
                  <a:gd name="connsiteX6" fmla="*/ 857249 w 2292350"/>
                  <a:gd name="connsiteY6" fmla="*/ 2458531 h 2953831"/>
                  <a:gd name="connsiteX7" fmla="*/ 1174749 w 2292350"/>
                  <a:gd name="connsiteY7" fmla="*/ 1899731 h 2953831"/>
                  <a:gd name="connsiteX8" fmla="*/ 977899 w 2292350"/>
                  <a:gd name="connsiteY8" fmla="*/ 1404431 h 2953831"/>
                  <a:gd name="connsiteX9" fmla="*/ 901699 w 229235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0 w 2260600"/>
                  <a:gd name="connsiteY5" fmla="*/ 2953831 h 2953831"/>
                  <a:gd name="connsiteX6" fmla="*/ 825499 w 2260600"/>
                  <a:gd name="connsiteY6" fmla="*/ 2458531 h 2953831"/>
                  <a:gd name="connsiteX7" fmla="*/ 1142999 w 2260600"/>
                  <a:gd name="connsiteY7" fmla="*/ 1899731 h 2953831"/>
                  <a:gd name="connsiteX8" fmla="*/ 946149 w 2260600"/>
                  <a:gd name="connsiteY8" fmla="*/ 1404431 h 2953831"/>
                  <a:gd name="connsiteX9" fmla="*/ 869949 w 2260600"/>
                  <a:gd name="connsiteY9" fmla="*/ 934531 h 2953831"/>
                  <a:gd name="connsiteX0" fmla="*/ 869949 w 2260600"/>
                  <a:gd name="connsiteY0" fmla="*/ 934531 h 2953831"/>
                  <a:gd name="connsiteX1" fmla="*/ 2203449 w 2260600"/>
                  <a:gd name="connsiteY1" fmla="*/ 909131 h 2953831"/>
                  <a:gd name="connsiteX2" fmla="*/ 2114549 w 2260600"/>
                  <a:gd name="connsiteY2" fmla="*/ 1423481 h 2953831"/>
                  <a:gd name="connsiteX3" fmla="*/ 1936749 w 2260600"/>
                  <a:gd name="connsiteY3" fmla="*/ 1893381 h 2953831"/>
                  <a:gd name="connsiteX4" fmla="*/ 2260600 w 2260600"/>
                  <a:gd name="connsiteY4" fmla="*/ 2458531 h 2953831"/>
                  <a:gd name="connsiteX5" fmla="*/ 1708150 w 2260600"/>
                  <a:gd name="connsiteY5" fmla="*/ 2585531 h 2953831"/>
                  <a:gd name="connsiteX6" fmla="*/ 0 w 2260600"/>
                  <a:gd name="connsiteY6" fmla="*/ 2953831 h 2953831"/>
                  <a:gd name="connsiteX7" fmla="*/ 825499 w 2260600"/>
                  <a:gd name="connsiteY7" fmla="*/ 2458531 h 2953831"/>
                  <a:gd name="connsiteX8" fmla="*/ 1142999 w 2260600"/>
                  <a:gd name="connsiteY8" fmla="*/ 1899731 h 2953831"/>
                  <a:gd name="connsiteX9" fmla="*/ 946149 w 2260600"/>
                  <a:gd name="connsiteY9" fmla="*/ 1404431 h 2953831"/>
                  <a:gd name="connsiteX10" fmla="*/ 869949 w 226060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0 w 3067050"/>
                  <a:gd name="connsiteY6" fmla="*/ 2953831 h 2953831"/>
                  <a:gd name="connsiteX7" fmla="*/ 825499 w 3067050"/>
                  <a:gd name="connsiteY7" fmla="*/ 2458531 h 2953831"/>
                  <a:gd name="connsiteX8" fmla="*/ 1142999 w 3067050"/>
                  <a:gd name="connsiteY8" fmla="*/ 1899731 h 2953831"/>
                  <a:gd name="connsiteX9" fmla="*/ 946149 w 3067050"/>
                  <a:gd name="connsiteY9" fmla="*/ 1404431 h 2953831"/>
                  <a:gd name="connsiteX10" fmla="*/ 869949 w 3067050"/>
                  <a:gd name="connsiteY10" fmla="*/ 934531 h 2953831"/>
                  <a:gd name="connsiteX0" fmla="*/ 869949 w 3067050"/>
                  <a:gd name="connsiteY0" fmla="*/ 934531 h 2953831"/>
                  <a:gd name="connsiteX1" fmla="*/ 2203449 w 3067050"/>
                  <a:gd name="connsiteY1" fmla="*/ 909131 h 2953831"/>
                  <a:gd name="connsiteX2" fmla="*/ 2114549 w 3067050"/>
                  <a:gd name="connsiteY2" fmla="*/ 1423481 h 2953831"/>
                  <a:gd name="connsiteX3" fmla="*/ 1936749 w 3067050"/>
                  <a:gd name="connsiteY3" fmla="*/ 1893381 h 2953831"/>
                  <a:gd name="connsiteX4" fmla="*/ 2260600 w 3067050"/>
                  <a:gd name="connsiteY4" fmla="*/ 2458531 h 2953831"/>
                  <a:gd name="connsiteX5" fmla="*/ 3067050 w 3067050"/>
                  <a:gd name="connsiteY5" fmla="*/ 2953831 h 2953831"/>
                  <a:gd name="connsiteX6" fmla="*/ 2463800 w 3067050"/>
                  <a:gd name="connsiteY6" fmla="*/ 2947481 h 2953831"/>
                  <a:gd name="connsiteX7" fmla="*/ 0 w 3067050"/>
                  <a:gd name="connsiteY7" fmla="*/ 2953831 h 2953831"/>
                  <a:gd name="connsiteX8" fmla="*/ 825499 w 3067050"/>
                  <a:gd name="connsiteY8" fmla="*/ 2458531 h 2953831"/>
                  <a:gd name="connsiteX9" fmla="*/ 1142999 w 3067050"/>
                  <a:gd name="connsiteY9" fmla="*/ 1899731 h 2953831"/>
                  <a:gd name="connsiteX10" fmla="*/ 946149 w 3067050"/>
                  <a:gd name="connsiteY10" fmla="*/ 1404431 h 2953831"/>
                  <a:gd name="connsiteX11" fmla="*/ 869949 w 3067050"/>
                  <a:gd name="connsiteY11" fmla="*/ 934531 h 29538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0 w 3079750"/>
                  <a:gd name="connsiteY7" fmla="*/ 2953831 h 3639631"/>
                  <a:gd name="connsiteX8" fmla="*/ 825499 w 3079750"/>
                  <a:gd name="connsiteY8" fmla="*/ 2458531 h 3639631"/>
                  <a:gd name="connsiteX9" fmla="*/ 1142999 w 3079750"/>
                  <a:gd name="connsiteY9" fmla="*/ 1899731 h 3639631"/>
                  <a:gd name="connsiteX10" fmla="*/ 946149 w 3079750"/>
                  <a:gd name="connsiteY10" fmla="*/ 1404431 h 3639631"/>
                  <a:gd name="connsiteX11" fmla="*/ 869949 w 3079750"/>
                  <a:gd name="connsiteY11" fmla="*/ 934531 h 3639631"/>
                  <a:gd name="connsiteX0" fmla="*/ 869949 w 3079750"/>
                  <a:gd name="connsiteY0" fmla="*/ 934531 h 3639631"/>
                  <a:gd name="connsiteX1" fmla="*/ 2203449 w 3079750"/>
                  <a:gd name="connsiteY1" fmla="*/ 909131 h 3639631"/>
                  <a:gd name="connsiteX2" fmla="*/ 2114549 w 3079750"/>
                  <a:gd name="connsiteY2" fmla="*/ 1423481 h 3639631"/>
                  <a:gd name="connsiteX3" fmla="*/ 1936749 w 3079750"/>
                  <a:gd name="connsiteY3" fmla="*/ 1893381 h 3639631"/>
                  <a:gd name="connsiteX4" fmla="*/ 2260600 w 3079750"/>
                  <a:gd name="connsiteY4" fmla="*/ 2458531 h 3639631"/>
                  <a:gd name="connsiteX5" fmla="*/ 3067050 w 3079750"/>
                  <a:gd name="connsiteY5" fmla="*/ 2953831 h 3639631"/>
                  <a:gd name="connsiteX6" fmla="*/ 3079750 w 3079750"/>
                  <a:gd name="connsiteY6" fmla="*/ 3639631 h 3639631"/>
                  <a:gd name="connsiteX7" fmla="*/ 450850 w 3079750"/>
                  <a:gd name="connsiteY7" fmla="*/ 3042731 h 3639631"/>
                  <a:gd name="connsiteX8" fmla="*/ 0 w 3079750"/>
                  <a:gd name="connsiteY8" fmla="*/ 2953831 h 3639631"/>
                  <a:gd name="connsiteX9" fmla="*/ 825499 w 3079750"/>
                  <a:gd name="connsiteY9" fmla="*/ 2458531 h 3639631"/>
                  <a:gd name="connsiteX10" fmla="*/ 1142999 w 3079750"/>
                  <a:gd name="connsiteY10" fmla="*/ 1899731 h 3639631"/>
                  <a:gd name="connsiteX11" fmla="*/ 946149 w 3079750"/>
                  <a:gd name="connsiteY11" fmla="*/ 1404431 h 3639631"/>
                  <a:gd name="connsiteX12" fmla="*/ 869949 w 3079750"/>
                  <a:gd name="connsiteY12" fmla="*/ 934531 h 3639631"/>
                  <a:gd name="connsiteX0" fmla="*/ 882649 w 3092450"/>
                  <a:gd name="connsiteY0" fmla="*/ 934531 h 3665031"/>
                  <a:gd name="connsiteX1" fmla="*/ 2216149 w 3092450"/>
                  <a:gd name="connsiteY1" fmla="*/ 909131 h 3665031"/>
                  <a:gd name="connsiteX2" fmla="*/ 2127249 w 3092450"/>
                  <a:gd name="connsiteY2" fmla="*/ 1423481 h 3665031"/>
                  <a:gd name="connsiteX3" fmla="*/ 1949449 w 3092450"/>
                  <a:gd name="connsiteY3" fmla="*/ 1893381 h 3665031"/>
                  <a:gd name="connsiteX4" fmla="*/ 2273300 w 3092450"/>
                  <a:gd name="connsiteY4" fmla="*/ 2458531 h 3665031"/>
                  <a:gd name="connsiteX5" fmla="*/ 3079750 w 3092450"/>
                  <a:gd name="connsiteY5" fmla="*/ 2953831 h 3665031"/>
                  <a:gd name="connsiteX6" fmla="*/ 3092450 w 3092450"/>
                  <a:gd name="connsiteY6" fmla="*/ 3639631 h 3665031"/>
                  <a:gd name="connsiteX7" fmla="*/ 0 w 3092450"/>
                  <a:gd name="connsiteY7" fmla="*/ 3665031 h 3665031"/>
                  <a:gd name="connsiteX8" fmla="*/ 12700 w 3092450"/>
                  <a:gd name="connsiteY8" fmla="*/ 2953831 h 3665031"/>
                  <a:gd name="connsiteX9" fmla="*/ 838199 w 3092450"/>
                  <a:gd name="connsiteY9" fmla="*/ 2458531 h 3665031"/>
                  <a:gd name="connsiteX10" fmla="*/ 1155699 w 3092450"/>
                  <a:gd name="connsiteY10" fmla="*/ 1899731 h 3665031"/>
                  <a:gd name="connsiteX11" fmla="*/ 958849 w 3092450"/>
                  <a:gd name="connsiteY11" fmla="*/ 1404431 h 3665031"/>
                  <a:gd name="connsiteX12" fmla="*/ 882649 w 3092450"/>
                  <a:gd name="connsiteY12" fmla="*/ 934531 h 3665031"/>
                  <a:gd name="connsiteX0" fmla="*/ 869949 w 3079750"/>
                  <a:gd name="connsiteY0" fmla="*/ 934531 h 3665031"/>
                  <a:gd name="connsiteX1" fmla="*/ 2203449 w 3079750"/>
                  <a:gd name="connsiteY1" fmla="*/ 909131 h 3665031"/>
                  <a:gd name="connsiteX2" fmla="*/ 2114549 w 3079750"/>
                  <a:gd name="connsiteY2" fmla="*/ 1423481 h 3665031"/>
                  <a:gd name="connsiteX3" fmla="*/ 1936749 w 3079750"/>
                  <a:gd name="connsiteY3" fmla="*/ 1893381 h 3665031"/>
                  <a:gd name="connsiteX4" fmla="*/ 2260600 w 3079750"/>
                  <a:gd name="connsiteY4" fmla="*/ 2458531 h 3665031"/>
                  <a:gd name="connsiteX5" fmla="*/ 3067050 w 3079750"/>
                  <a:gd name="connsiteY5" fmla="*/ 2953831 h 3665031"/>
                  <a:gd name="connsiteX6" fmla="*/ 3079750 w 3079750"/>
                  <a:gd name="connsiteY6" fmla="*/ 3639631 h 3665031"/>
                  <a:gd name="connsiteX7" fmla="*/ 0 w 3079750"/>
                  <a:gd name="connsiteY7" fmla="*/ 3665031 h 3665031"/>
                  <a:gd name="connsiteX8" fmla="*/ 0 w 3079750"/>
                  <a:gd name="connsiteY8" fmla="*/ 2953831 h 3665031"/>
                  <a:gd name="connsiteX9" fmla="*/ 825499 w 3079750"/>
                  <a:gd name="connsiteY9" fmla="*/ 2458531 h 3665031"/>
                  <a:gd name="connsiteX10" fmla="*/ 1142999 w 3079750"/>
                  <a:gd name="connsiteY10" fmla="*/ 1899731 h 3665031"/>
                  <a:gd name="connsiteX11" fmla="*/ 946149 w 3079750"/>
                  <a:gd name="connsiteY11" fmla="*/ 1404431 h 3665031"/>
                  <a:gd name="connsiteX12" fmla="*/ 869949 w 307975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  <a:gd name="connsiteX0" fmla="*/ 869949 w 3073400"/>
                  <a:gd name="connsiteY0" fmla="*/ 934531 h 3665031"/>
                  <a:gd name="connsiteX1" fmla="*/ 2203449 w 3073400"/>
                  <a:gd name="connsiteY1" fmla="*/ 909131 h 3665031"/>
                  <a:gd name="connsiteX2" fmla="*/ 2114549 w 3073400"/>
                  <a:gd name="connsiteY2" fmla="*/ 1423481 h 3665031"/>
                  <a:gd name="connsiteX3" fmla="*/ 1936749 w 3073400"/>
                  <a:gd name="connsiteY3" fmla="*/ 1893381 h 3665031"/>
                  <a:gd name="connsiteX4" fmla="*/ 2260600 w 3073400"/>
                  <a:gd name="connsiteY4" fmla="*/ 2458531 h 3665031"/>
                  <a:gd name="connsiteX5" fmla="*/ 3067050 w 3073400"/>
                  <a:gd name="connsiteY5" fmla="*/ 2953831 h 3665031"/>
                  <a:gd name="connsiteX6" fmla="*/ 3073400 w 3073400"/>
                  <a:gd name="connsiteY6" fmla="*/ 3665031 h 3665031"/>
                  <a:gd name="connsiteX7" fmla="*/ 0 w 3073400"/>
                  <a:gd name="connsiteY7" fmla="*/ 3665031 h 3665031"/>
                  <a:gd name="connsiteX8" fmla="*/ 0 w 3073400"/>
                  <a:gd name="connsiteY8" fmla="*/ 2953831 h 3665031"/>
                  <a:gd name="connsiteX9" fmla="*/ 825499 w 3073400"/>
                  <a:gd name="connsiteY9" fmla="*/ 2458531 h 3665031"/>
                  <a:gd name="connsiteX10" fmla="*/ 1142999 w 3073400"/>
                  <a:gd name="connsiteY10" fmla="*/ 1899731 h 3665031"/>
                  <a:gd name="connsiteX11" fmla="*/ 946149 w 3073400"/>
                  <a:gd name="connsiteY11" fmla="*/ 1404431 h 3665031"/>
                  <a:gd name="connsiteX12" fmla="*/ 869949 w 3073400"/>
                  <a:gd name="connsiteY12" fmla="*/ 934531 h 3665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073400" h="3665031">
                    <a:moveTo>
                      <a:pt x="869949" y="934531"/>
                    </a:moveTo>
                    <a:cubicBezTo>
                      <a:pt x="546099" y="-362986"/>
                      <a:pt x="2533649" y="-250802"/>
                      <a:pt x="2203449" y="909131"/>
                    </a:cubicBezTo>
                    <a:cubicBezTo>
                      <a:pt x="2281766" y="1080581"/>
                      <a:pt x="2226732" y="1252031"/>
                      <a:pt x="2114549" y="1423481"/>
                    </a:cubicBezTo>
                    <a:cubicBezTo>
                      <a:pt x="2108199" y="1633031"/>
                      <a:pt x="2057399" y="1715581"/>
                      <a:pt x="1936749" y="1893381"/>
                    </a:cubicBezTo>
                    <a:cubicBezTo>
                      <a:pt x="1934633" y="2365398"/>
                      <a:pt x="1932516" y="2329414"/>
                      <a:pt x="2260600" y="2458531"/>
                    </a:cubicBezTo>
                    <a:cubicBezTo>
                      <a:pt x="2599267" y="2598231"/>
                      <a:pt x="3020483" y="2731581"/>
                      <a:pt x="3067050" y="2953831"/>
                    </a:cubicBezTo>
                    <a:cubicBezTo>
                      <a:pt x="3069167" y="3190898"/>
                      <a:pt x="3071283" y="3427964"/>
                      <a:pt x="3073400" y="3665031"/>
                    </a:cubicBezTo>
                    <a:lnTo>
                      <a:pt x="0" y="3665031"/>
                    </a:lnTo>
                    <a:lnTo>
                      <a:pt x="0" y="2953831"/>
                    </a:lnTo>
                    <a:cubicBezTo>
                      <a:pt x="27516" y="2769681"/>
                      <a:pt x="423333" y="2585531"/>
                      <a:pt x="825499" y="2458531"/>
                    </a:cubicBezTo>
                    <a:cubicBezTo>
                      <a:pt x="1083732" y="2361164"/>
                      <a:pt x="1164166" y="2384448"/>
                      <a:pt x="1142999" y="1899731"/>
                    </a:cubicBezTo>
                    <a:cubicBezTo>
                      <a:pt x="982132" y="1728281"/>
                      <a:pt x="973666" y="1563181"/>
                      <a:pt x="946149" y="1404431"/>
                    </a:cubicBezTo>
                    <a:cubicBezTo>
                      <a:pt x="844549" y="1247798"/>
                      <a:pt x="800099" y="1046714"/>
                      <a:pt x="869949" y="934531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685313BC-1B70-49C0-8977-659553967DDA}"/>
              </a:ext>
            </a:extLst>
          </p:cNvPr>
          <p:cNvGrpSpPr/>
          <p:nvPr/>
        </p:nvGrpSpPr>
        <p:grpSpPr>
          <a:xfrm rot="563073">
            <a:off x="6592593" y="2210210"/>
            <a:ext cx="96088" cy="147545"/>
            <a:chOff x="1867783" y="2479908"/>
            <a:chExt cx="152386" cy="244361"/>
          </a:xfrm>
          <a:solidFill>
            <a:schemeClr val="bg1">
              <a:lumMod val="50000"/>
            </a:schemeClr>
          </a:solidFill>
        </p:grpSpPr>
        <p:sp>
          <p:nvSpPr>
            <p:cNvPr id="115" name="Freeform 400">
              <a:extLst>
                <a:ext uri="{FF2B5EF4-FFF2-40B4-BE49-F238E27FC236}">
                  <a16:creationId xmlns:a16="http://schemas.microsoft.com/office/drawing/2014/main" id="{112798B1-235A-4436-97FF-5607A461282A}"/>
                </a:ext>
              </a:extLst>
            </p:cNvPr>
            <p:cNvSpPr/>
            <p:nvPr/>
          </p:nvSpPr>
          <p:spPr>
            <a:xfrm rot="17641895">
              <a:off x="1820027" y="2527664"/>
              <a:ext cx="244361" cy="148850"/>
            </a:xfrm>
            <a:custGeom>
              <a:avLst/>
              <a:gdLst>
                <a:gd name="connsiteX0" fmla="*/ 2847889 w 3054645"/>
                <a:gd name="connsiteY0" fmla="*/ 2346485 h 3074853"/>
                <a:gd name="connsiteX1" fmla="*/ 2844681 w 3054645"/>
                <a:gd name="connsiteY1" fmla="*/ 2352185 h 3074853"/>
                <a:gd name="connsiteX2" fmla="*/ 1695889 w 3054645"/>
                <a:gd name="connsiteY2" fmla="*/ 3069213 h 3074853"/>
                <a:gd name="connsiteX3" fmla="*/ 1584190 w 3054645"/>
                <a:gd name="connsiteY3" fmla="*/ 3074853 h 3074853"/>
                <a:gd name="connsiteX4" fmla="*/ 1798468 w 3054645"/>
                <a:gd name="connsiteY4" fmla="*/ 3003026 h 3074853"/>
                <a:gd name="connsiteX5" fmla="*/ 1745014 w 3054645"/>
                <a:gd name="connsiteY5" fmla="*/ 2843561 h 3074853"/>
                <a:gd name="connsiteX6" fmla="*/ 1805144 w 3054645"/>
                <a:gd name="connsiteY6" fmla="*/ 2834384 h 3074853"/>
                <a:gd name="connsiteX7" fmla="*/ 2404173 w 3054645"/>
                <a:gd name="connsiteY7" fmla="*/ 2538718 h 3074853"/>
                <a:gd name="connsiteX8" fmla="*/ 2495077 w 3054645"/>
                <a:gd name="connsiteY8" fmla="*/ 2445618 h 3074853"/>
                <a:gd name="connsiteX9" fmla="*/ 104172 w 3054645"/>
                <a:gd name="connsiteY9" fmla="*/ 985424 h 3074853"/>
                <a:gd name="connsiteX10" fmla="*/ 229465 w 3054645"/>
                <a:gd name="connsiteY10" fmla="*/ 1359204 h 3074853"/>
                <a:gd name="connsiteX11" fmla="*/ 222729 w 3054645"/>
                <a:gd name="connsiteY11" fmla="*/ 1403342 h 3074853"/>
                <a:gd name="connsiteX12" fmla="*/ 215900 w 3054645"/>
                <a:gd name="connsiteY12" fmla="*/ 1538578 h 3074853"/>
                <a:gd name="connsiteX13" fmla="*/ 391140 w 3054645"/>
                <a:gd name="connsiteY13" fmla="*/ 2196950 h 3074853"/>
                <a:gd name="connsiteX14" fmla="*/ 395806 w 3054645"/>
                <a:gd name="connsiteY14" fmla="*/ 2203683 h 3074853"/>
                <a:gd name="connsiteX15" fmla="*/ 536944 w 3054645"/>
                <a:gd name="connsiteY15" fmla="*/ 2705995 h 3074853"/>
                <a:gd name="connsiteX16" fmla="*/ 531694 w 3054645"/>
                <a:gd name="connsiteY16" fmla="*/ 2701970 h 3074853"/>
                <a:gd name="connsiteX17" fmla="*/ 0 w 3054645"/>
                <a:gd name="connsiteY17" fmla="*/ 1538578 h 3074853"/>
                <a:gd name="connsiteX18" fmla="*/ 69172 w 3054645"/>
                <a:gd name="connsiteY18" fmla="*/ 1081052 h 3074853"/>
                <a:gd name="connsiteX19" fmla="*/ 1538578 w 3054645"/>
                <a:gd name="connsiteY19" fmla="*/ 0 h 3074853"/>
                <a:gd name="connsiteX20" fmla="*/ 3045898 w 3054645"/>
                <a:gd name="connsiteY20" fmla="*/ 1228501 h 3074853"/>
                <a:gd name="connsiteX21" fmla="*/ 3054645 w 3054645"/>
                <a:gd name="connsiteY21" fmla="*/ 1285815 h 3074853"/>
                <a:gd name="connsiteX22" fmla="*/ 2845461 w 3054645"/>
                <a:gd name="connsiteY22" fmla="*/ 1344591 h 3074853"/>
                <a:gd name="connsiteX23" fmla="*/ 2834384 w 3054645"/>
                <a:gd name="connsiteY23" fmla="*/ 1272012 h 3074853"/>
                <a:gd name="connsiteX24" fmla="*/ 1538578 w 3054645"/>
                <a:gd name="connsiteY24" fmla="*/ 215900 h 3074853"/>
                <a:gd name="connsiteX25" fmla="*/ 1023732 w 3054645"/>
                <a:gd name="connsiteY25" fmla="*/ 319843 h 3074853"/>
                <a:gd name="connsiteX26" fmla="*/ 916382 w 3054645"/>
                <a:gd name="connsiteY26" fmla="*/ 371556 h 3074853"/>
                <a:gd name="connsiteX27" fmla="*/ 847286 w 3054645"/>
                <a:gd name="connsiteY27" fmla="*/ 165425 h 3074853"/>
                <a:gd name="connsiteX28" fmla="*/ 939694 w 3054645"/>
                <a:gd name="connsiteY28" fmla="*/ 120909 h 3074853"/>
                <a:gd name="connsiteX29" fmla="*/ 1538578 w 3054645"/>
                <a:gd name="connsiteY29" fmla="*/ 0 h 3074853"/>
                <a:gd name="connsiteX0" fmla="*/ 2495077 w 3054645"/>
                <a:gd name="connsiteY0" fmla="*/ 2445618 h 3074853"/>
                <a:gd name="connsiteX1" fmla="*/ 2844681 w 3054645"/>
                <a:gd name="connsiteY1" fmla="*/ 2352185 h 3074853"/>
                <a:gd name="connsiteX2" fmla="*/ 1695889 w 3054645"/>
                <a:gd name="connsiteY2" fmla="*/ 3069213 h 3074853"/>
                <a:gd name="connsiteX3" fmla="*/ 1584190 w 3054645"/>
                <a:gd name="connsiteY3" fmla="*/ 3074853 h 3074853"/>
                <a:gd name="connsiteX4" fmla="*/ 1798468 w 3054645"/>
                <a:gd name="connsiteY4" fmla="*/ 3003026 h 3074853"/>
                <a:gd name="connsiteX5" fmla="*/ 1745014 w 3054645"/>
                <a:gd name="connsiteY5" fmla="*/ 2843561 h 3074853"/>
                <a:gd name="connsiteX6" fmla="*/ 1805144 w 3054645"/>
                <a:gd name="connsiteY6" fmla="*/ 2834384 h 3074853"/>
                <a:gd name="connsiteX7" fmla="*/ 2404173 w 3054645"/>
                <a:gd name="connsiteY7" fmla="*/ 2538718 h 3074853"/>
                <a:gd name="connsiteX8" fmla="*/ 2495077 w 3054645"/>
                <a:gd name="connsiteY8" fmla="*/ 2445618 h 3074853"/>
                <a:gd name="connsiteX9" fmla="*/ 104172 w 3054645"/>
                <a:gd name="connsiteY9" fmla="*/ 985424 h 3074853"/>
                <a:gd name="connsiteX10" fmla="*/ 229465 w 3054645"/>
                <a:gd name="connsiteY10" fmla="*/ 1359204 h 3074853"/>
                <a:gd name="connsiteX11" fmla="*/ 222729 w 3054645"/>
                <a:gd name="connsiteY11" fmla="*/ 1403342 h 3074853"/>
                <a:gd name="connsiteX12" fmla="*/ 215900 w 3054645"/>
                <a:gd name="connsiteY12" fmla="*/ 1538578 h 3074853"/>
                <a:gd name="connsiteX13" fmla="*/ 391140 w 3054645"/>
                <a:gd name="connsiteY13" fmla="*/ 2196950 h 3074853"/>
                <a:gd name="connsiteX14" fmla="*/ 395806 w 3054645"/>
                <a:gd name="connsiteY14" fmla="*/ 2203683 h 3074853"/>
                <a:gd name="connsiteX15" fmla="*/ 536944 w 3054645"/>
                <a:gd name="connsiteY15" fmla="*/ 2705995 h 3074853"/>
                <a:gd name="connsiteX16" fmla="*/ 531694 w 3054645"/>
                <a:gd name="connsiteY16" fmla="*/ 2701970 h 3074853"/>
                <a:gd name="connsiteX17" fmla="*/ 0 w 3054645"/>
                <a:gd name="connsiteY17" fmla="*/ 1538578 h 3074853"/>
                <a:gd name="connsiteX18" fmla="*/ 69172 w 3054645"/>
                <a:gd name="connsiteY18" fmla="*/ 1081052 h 3074853"/>
                <a:gd name="connsiteX19" fmla="*/ 104172 w 3054645"/>
                <a:gd name="connsiteY19" fmla="*/ 985424 h 3074853"/>
                <a:gd name="connsiteX20" fmla="*/ 1538578 w 3054645"/>
                <a:gd name="connsiteY20" fmla="*/ 0 h 3074853"/>
                <a:gd name="connsiteX21" fmla="*/ 3045898 w 3054645"/>
                <a:gd name="connsiteY21" fmla="*/ 1228501 h 3074853"/>
                <a:gd name="connsiteX22" fmla="*/ 3054645 w 3054645"/>
                <a:gd name="connsiteY22" fmla="*/ 1285815 h 3074853"/>
                <a:gd name="connsiteX23" fmla="*/ 2845461 w 3054645"/>
                <a:gd name="connsiteY23" fmla="*/ 1344591 h 3074853"/>
                <a:gd name="connsiteX24" fmla="*/ 2834384 w 3054645"/>
                <a:gd name="connsiteY24" fmla="*/ 1272012 h 3074853"/>
                <a:gd name="connsiteX25" fmla="*/ 1538578 w 3054645"/>
                <a:gd name="connsiteY25" fmla="*/ 215900 h 3074853"/>
                <a:gd name="connsiteX26" fmla="*/ 1023732 w 3054645"/>
                <a:gd name="connsiteY26" fmla="*/ 319843 h 3074853"/>
                <a:gd name="connsiteX27" fmla="*/ 916382 w 3054645"/>
                <a:gd name="connsiteY27" fmla="*/ 371556 h 3074853"/>
                <a:gd name="connsiteX28" fmla="*/ 847286 w 3054645"/>
                <a:gd name="connsiteY28" fmla="*/ 165425 h 3074853"/>
                <a:gd name="connsiteX29" fmla="*/ 939694 w 3054645"/>
                <a:gd name="connsiteY29" fmla="*/ 120909 h 3074853"/>
                <a:gd name="connsiteX30" fmla="*/ 1538578 w 3054645"/>
                <a:gd name="connsiteY30" fmla="*/ 0 h 3074853"/>
                <a:gd name="connsiteX0" fmla="*/ 2404173 w 3054645"/>
                <a:gd name="connsiteY0" fmla="*/ 2538718 h 3074853"/>
                <a:gd name="connsiteX1" fmla="*/ 2844681 w 3054645"/>
                <a:gd name="connsiteY1" fmla="*/ 2352185 h 3074853"/>
                <a:gd name="connsiteX2" fmla="*/ 1695889 w 3054645"/>
                <a:gd name="connsiteY2" fmla="*/ 3069213 h 3074853"/>
                <a:gd name="connsiteX3" fmla="*/ 1584190 w 3054645"/>
                <a:gd name="connsiteY3" fmla="*/ 3074853 h 3074853"/>
                <a:gd name="connsiteX4" fmla="*/ 1798468 w 3054645"/>
                <a:gd name="connsiteY4" fmla="*/ 3003026 h 3074853"/>
                <a:gd name="connsiteX5" fmla="*/ 1745014 w 3054645"/>
                <a:gd name="connsiteY5" fmla="*/ 2843561 h 3074853"/>
                <a:gd name="connsiteX6" fmla="*/ 1805144 w 3054645"/>
                <a:gd name="connsiteY6" fmla="*/ 2834384 h 3074853"/>
                <a:gd name="connsiteX7" fmla="*/ 2404173 w 3054645"/>
                <a:gd name="connsiteY7" fmla="*/ 2538718 h 3074853"/>
                <a:gd name="connsiteX8" fmla="*/ 104172 w 3054645"/>
                <a:gd name="connsiteY8" fmla="*/ 985424 h 3074853"/>
                <a:gd name="connsiteX9" fmla="*/ 229465 w 3054645"/>
                <a:gd name="connsiteY9" fmla="*/ 1359204 h 3074853"/>
                <a:gd name="connsiteX10" fmla="*/ 222729 w 3054645"/>
                <a:gd name="connsiteY10" fmla="*/ 1403342 h 3074853"/>
                <a:gd name="connsiteX11" fmla="*/ 215900 w 3054645"/>
                <a:gd name="connsiteY11" fmla="*/ 1538578 h 3074853"/>
                <a:gd name="connsiteX12" fmla="*/ 391140 w 3054645"/>
                <a:gd name="connsiteY12" fmla="*/ 2196950 h 3074853"/>
                <a:gd name="connsiteX13" fmla="*/ 395806 w 3054645"/>
                <a:gd name="connsiteY13" fmla="*/ 2203683 h 3074853"/>
                <a:gd name="connsiteX14" fmla="*/ 536944 w 3054645"/>
                <a:gd name="connsiteY14" fmla="*/ 2705995 h 3074853"/>
                <a:gd name="connsiteX15" fmla="*/ 531694 w 3054645"/>
                <a:gd name="connsiteY15" fmla="*/ 2701970 h 3074853"/>
                <a:gd name="connsiteX16" fmla="*/ 0 w 3054645"/>
                <a:gd name="connsiteY16" fmla="*/ 1538578 h 3074853"/>
                <a:gd name="connsiteX17" fmla="*/ 69172 w 3054645"/>
                <a:gd name="connsiteY17" fmla="*/ 1081052 h 3074853"/>
                <a:gd name="connsiteX18" fmla="*/ 104172 w 3054645"/>
                <a:gd name="connsiteY18" fmla="*/ 985424 h 3074853"/>
                <a:gd name="connsiteX19" fmla="*/ 1538578 w 3054645"/>
                <a:gd name="connsiteY19" fmla="*/ 0 h 3074853"/>
                <a:gd name="connsiteX20" fmla="*/ 3045898 w 3054645"/>
                <a:gd name="connsiteY20" fmla="*/ 1228501 h 3074853"/>
                <a:gd name="connsiteX21" fmla="*/ 3054645 w 3054645"/>
                <a:gd name="connsiteY21" fmla="*/ 1285815 h 3074853"/>
                <a:gd name="connsiteX22" fmla="*/ 2845461 w 3054645"/>
                <a:gd name="connsiteY22" fmla="*/ 1344591 h 3074853"/>
                <a:gd name="connsiteX23" fmla="*/ 2834384 w 3054645"/>
                <a:gd name="connsiteY23" fmla="*/ 1272012 h 3074853"/>
                <a:gd name="connsiteX24" fmla="*/ 1538578 w 3054645"/>
                <a:gd name="connsiteY24" fmla="*/ 215900 h 3074853"/>
                <a:gd name="connsiteX25" fmla="*/ 1023732 w 3054645"/>
                <a:gd name="connsiteY25" fmla="*/ 319843 h 3074853"/>
                <a:gd name="connsiteX26" fmla="*/ 916382 w 3054645"/>
                <a:gd name="connsiteY26" fmla="*/ 371556 h 3074853"/>
                <a:gd name="connsiteX27" fmla="*/ 847286 w 3054645"/>
                <a:gd name="connsiteY27" fmla="*/ 165425 h 3074853"/>
                <a:gd name="connsiteX28" fmla="*/ 939694 w 3054645"/>
                <a:gd name="connsiteY28" fmla="*/ 120909 h 3074853"/>
                <a:gd name="connsiteX29" fmla="*/ 1538578 w 3054645"/>
                <a:gd name="connsiteY29" fmla="*/ 0 h 3074853"/>
                <a:gd name="connsiteX0" fmla="*/ 1805144 w 3054645"/>
                <a:gd name="connsiteY0" fmla="*/ 2834384 h 3074853"/>
                <a:gd name="connsiteX1" fmla="*/ 2844681 w 3054645"/>
                <a:gd name="connsiteY1" fmla="*/ 2352185 h 3074853"/>
                <a:gd name="connsiteX2" fmla="*/ 1695889 w 3054645"/>
                <a:gd name="connsiteY2" fmla="*/ 3069213 h 3074853"/>
                <a:gd name="connsiteX3" fmla="*/ 1584190 w 3054645"/>
                <a:gd name="connsiteY3" fmla="*/ 3074853 h 3074853"/>
                <a:gd name="connsiteX4" fmla="*/ 1798468 w 3054645"/>
                <a:gd name="connsiteY4" fmla="*/ 3003026 h 3074853"/>
                <a:gd name="connsiteX5" fmla="*/ 1745014 w 3054645"/>
                <a:gd name="connsiteY5" fmla="*/ 2843561 h 3074853"/>
                <a:gd name="connsiteX6" fmla="*/ 1805144 w 3054645"/>
                <a:gd name="connsiteY6" fmla="*/ 2834384 h 3074853"/>
                <a:gd name="connsiteX7" fmla="*/ 104172 w 3054645"/>
                <a:gd name="connsiteY7" fmla="*/ 985424 h 3074853"/>
                <a:gd name="connsiteX8" fmla="*/ 229465 w 3054645"/>
                <a:gd name="connsiteY8" fmla="*/ 1359204 h 3074853"/>
                <a:gd name="connsiteX9" fmla="*/ 222729 w 3054645"/>
                <a:gd name="connsiteY9" fmla="*/ 1403342 h 3074853"/>
                <a:gd name="connsiteX10" fmla="*/ 215900 w 3054645"/>
                <a:gd name="connsiteY10" fmla="*/ 1538578 h 3074853"/>
                <a:gd name="connsiteX11" fmla="*/ 391140 w 3054645"/>
                <a:gd name="connsiteY11" fmla="*/ 2196950 h 3074853"/>
                <a:gd name="connsiteX12" fmla="*/ 395806 w 3054645"/>
                <a:gd name="connsiteY12" fmla="*/ 2203683 h 3074853"/>
                <a:gd name="connsiteX13" fmla="*/ 536944 w 3054645"/>
                <a:gd name="connsiteY13" fmla="*/ 2705995 h 3074853"/>
                <a:gd name="connsiteX14" fmla="*/ 531694 w 3054645"/>
                <a:gd name="connsiteY14" fmla="*/ 2701970 h 3074853"/>
                <a:gd name="connsiteX15" fmla="*/ 0 w 3054645"/>
                <a:gd name="connsiteY15" fmla="*/ 1538578 h 3074853"/>
                <a:gd name="connsiteX16" fmla="*/ 69172 w 3054645"/>
                <a:gd name="connsiteY16" fmla="*/ 1081052 h 3074853"/>
                <a:gd name="connsiteX17" fmla="*/ 104172 w 3054645"/>
                <a:gd name="connsiteY17" fmla="*/ 985424 h 3074853"/>
                <a:gd name="connsiteX18" fmla="*/ 1538578 w 3054645"/>
                <a:gd name="connsiteY18" fmla="*/ 0 h 3074853"/>
                <a:gd name="connsiteX19" fmla="*/ 3045898 w 3054645"/>
                <a:gd name="connsiteY19" fmla="*/ 1228501 h 3074853"/>
                <a:gd name="connsiteX20" fmla="*/ 3054645 w 3054645"/>
                <a:gd name="connsiteY20" fmla="*/ 1285815 h 3074853"/>
                <a:gd name="connsiteX21" fmla="*/ 2845461 w 3054645"/>
                <a:gd name="connsiteY21" fmla="*/ 1344591 h 3074853"/>
                <a:gd name="connsiteX22" fmla="*/ 2834384 w 3054645"/>
                <a:gd name="connsiteY22" fmla="*/ 1272012 h 3074853"/>
                <a:gd name="connsiteX23" fmla="*/ 1538578 w 3054645"/>
                <a:gd name="connsiteY23" fmla="*/ 215900 h 3074853"/>
                <a:gd name="connsiteX24" fmla="*/ 1023732 w 3054645"/>
                <a:gd name="connsiteY24" fmla="*/ 319843 h 3074853"/>
                <a:gd name="connsiteX25" fmla="*/ 916382 w 3054645"/>
                <a:gd name="connsiteY25" fmla="*/ 371556 h 3074853"/>
                <a:gd name="connsiteX26" fmla="*/ 847286 w 3054645"/>
                <a:gd name="connsiteY26" fmla="*/ 165425 h 3074853"/>
                <a:gd name="connsiteX27" fmla="*/ 939694 w 3054645"/>
                <a:gd name="connsiteY27" fmla="*/ 120909 h 3074853"/>
                <a:gd name="connsiteX28" fmla="*/ 1538578 w 3054645"/>
                <a:gd name="connsiteY28" fmla="*/ 0 h 3074853"/>
                <a:gd name="connsiteX0" fmla="*/ 1805144 w 3054645"/>
                <a:gd name="connsiteY0" fmla="*/ 2834384 h 3074853"/>
                <a:gd name="connsiteX1" fmla="*/ 1695889 w 3054645"/>
                <a:gd name="connsiteY1" fmla="*/ 3069213 h 3074853"/>
                <a:gd name="connsiteX2" fmla="*/ 1584190 w 3054645"/>
                <a:gd name="connsiteY2" fmla="*/ 3074853 h 3074853"/>
                <a:gd name="connsiteX3" fmla="*/ 1798468 w 3054645"/>
                <a:gd name="connsiteY3" fmla="*/ 3003026 h 3074853"/>
                <a:gd name="connsiteX4" fmla="*/ 1745014 w 3054645"/>
                <a:gd name="connsiteY4" fmla="*/ 2843561 h 3074853"/>
                <a:gd name="connsiteX5" fmla="*/ 1805144 w 3054645"/>
                <a:gd name="connsiteY5" fmla="*/ 2834384 h 3074853"/>
                <a:gd name="connsiteX6" fmla="*/ 104172 w 3054645"/>
                <a:gd name="connsiteY6" fmla="*/ 985424 h 3074853"/>
                <a:gd name="connsiteX7" fmla="*/ 229465 w 3054645"/>
                <a:gd name="connsiteY7" fmla="*/ 1359204 h 3074853"/>
                <a:gd name="connsiteX8" fmla="*/ 222729 w 3054645"/>
                <a:gd name="connsiteY8" fmla="*/ 1403342 h 3074853"/>
                <a:gd name="connsiteX9" fmla="*/ 215900 w 3054645"/>
                <a:gd name="connsiteY9" fmla="*/ 1538578 h 3074853"/>
                <a:gd name="connsiteX10" fmla="*/ 391140 w 3054645"/>
                <a:gd name="connsiteY10" fmla="*/ 2196950 h 3074853"/>
                <a:gd name="connsiteX11" fmla="*/ 395806 w 3054645"/>
                <a:gd name="connsiteY11" fmla="*/ 2203683 h 3074853"/>
                <a:gd name="connsiteX12" fmla="*/ 536944 w 3054645"/>
                <a:gd name="connsiteY12" fmla="*/ 2705995 h 3074853"/>
                <a:gd name="connsiteX13" fmla="*/ 531694 w 3054645"/>
                <a:gd name="connsiteY13" fmla="*/ 2701970 h 3074853"/>
                <a:gd name="connsiteX14" fmla="*/ 0 w 3054645"/>
                <a:gd name="connsiteY14" fmla="*/ 1538578 h 3074853"/>
                <a:gd name="connsiteX15" fmla="*/ 69172 w 3054645"/>
                <a:gd name="connsiteY15" fmla="*/ 1081052 h 3074853"/>
                <a:gd name="connsiteX16" fmla="*/ 104172 w 3054645"/>
                <a:gd name="connsiteY16" fmla="*/ 985424 h 3074853"/>
                <a:gd name="connsiteX17" fmla="*/ 1538578 w 3054645"/>
                <a:gd name="connsiteY17" fmla="*/ 0 h 3074853"/>
                <a:gd name="connsiteX18" fmla="*/ 3045898 w 3054645"/>
                <a:gd name="connsiteY18" fmla="*/ 1228501 h 3074853"/>
                <a:gd name="connsiteX19" fmla="*/ 3054645 w 3054645"/>
                <a:gd name="connsiteY19" fmla="*/ 1285815 h 3074853"/>
                <a:gd name="connsiteX20" fmla="*/ 2845461 w 3054645"/>
                <a:gd name="connsiteY20" fmla="*/ 1344591 h 3074853"/>
                <a:gd name="connsiteX21" fmla="*/ 2834384 w 3054645"/>
                <a:gd name="connsiteY21" fmla="*/ 1272012 h 3074853"/>
                <a:gd name="connsiteX22" fmla="*/ 1538578 w 3054645"/>
                <a:gd name="connsiteY22" fmla="*/ 215900 h 3074853"/>
                <a:gd name="connsiteX23" fmla="*/ 1023732 w 3054645"/>
                <a:gd name="connsiteY23" fmla="*/ 319843 h 3074853"/>
                <a:gd name="connsiteX24" fmla="*/ 916382 w 3054645"/>
                <a:gd name="connsiteY24" fmla="*/ 371556 h 3074853"/>
                <a:gd name="connsiteX25" fmla="*/ 847286 w 3054645"/>
                <a:gd name="connsiteY25" fmla="*/ 165425 h 3074853"/>
                <a:gd name="connsiteX26" fmla="*/ 939694 w 3054645"/>
                <a:gd name="connsiteY26" fmla="*/ 120909 h 3074853"/>
                <a:gd name="connsiteX27" fmla="*/ 1538578 w 3054645"/>
                <a:gd name="connsiteY27" fmla="*/ 0 h 3074853"/>
                <a:gd name="connsiteX0" fmla="*/ 1745014 w 3054645"/>
                <a:gd name="connsiteY0" fmla="*/ 2843561 h 3074853"/>
                <a:gd name="connsiteX1" fmla="*/ 1695889 w 3054645"/>
                <a:gd name="connsiteY1" fmla="*/ 3069213 h 3074853"/>
                <a:gd name="connsiteX2" fmla="*/ 1584190 w 3054645"/>
                <a:gd name="connsiteY2" fmla="*/ 3074853 h 3074853"/>
                <a:gd name="connsiteX3" fmla="*/ 1798468 w 3054645"/>
                <a:gd name="connsiteY3" fmla="*/ 3003026 h 3074853"/>
                <a:gd name="connsiteX4" fmla="*/ 1745014 w 3054645"/>
                <a:gd name="connsiteY4" fmla="*/ 2843561 h 3074853"/>
                <a:gd name="connsiteX5" fmla="*/ 104172 w 3054645"/>
                <a:gd name="connsiteY5" fmla="*/ 985424 h 3074853"/>
                <a:gd name="connsiteX6" fmla="*/ 229465 w 3054645"/>
                <a:gd name="connsiteY6" fmla="*/ 1359204 h 3074853"/>
                <a:gd name="connsiteX7" fmla="*/ 222729 w 3054645"/>
                <a:gd name="connsiteY7" fmla="*/ 1403342 h 3074853"/>
                <a:gd name="connsiteX8" fmla="*/ 215900 w 3054645"/>
                <a:gd name="connsiteY8" fmla="*/ 1538578 h 3074853"/>
                <a:gd name="connsiteX9" fmla="*/ 391140 w 3054645"/>
                <a:gd name="connsiteY9" fmla="*/ 2196950 h 3074853"/>
                <a:gd name="connsiteX10" fmla="*/ 395806 w 3054645"/>
                <a:gd name="connsiteY10" fmla="*/ 2203683 h 3074853"/>
                <a:gd name="connsiteX11" fmla="*/ 536944 w 3054645"/>
                <a:gd name="connsiteY11" fmla="*/ 2705995 h 3074853"/>
                <a:gd name="connsiteX12" fmla="*/ 531694 w 3054645"/>
                <a:gd name="connsiteY12" fmla="*/ 2701970 h 3074853"/>
                <a:gd name="connsiteX13" fmla="*/ 0 w 3054645"/>
                <a:gd name="connsiteY13" fmla="*/ 1538578 h 3074853"/>
                <a:gd name="connsiteX14" fmla="*/ 69172 w 3054645"/>
                <a:gd name="connsiteY14" fmla="*/ 1081052 h 3074853"/>
                <a:gd name="connsiteX15" fmla="*/ 104172 w 3054645"/>
                <a:gd name="connsiteY15" fmla="*/ 985424 h 3074853"/>
                <a:gd name="connsiteX16" fmla="*/ 1538578 w 3054645"/>
                <a:gd name="connsiteY16" fmla="*/ 0 h 3074853"/>
                <a:gd name="connsiteX17" fmla="*/ 3045898 w 3054645"/>
                <a:gd name="connsiteY17" fmla="*/ 1228501 h 3074853"/>
                <a:gd name="connsiteX18" fmla="*/ 3054645 w 3054645"/>
                <a:gd name="connsiteY18" fmla="*/ 1285815 h 3074853"/>
                <a:gd name="connsiteX19" fmla="*/ 2845461 w 3054645"/>
                <a:gd name="connsiteY19" fmla="*/ 1344591 h 3074853"/>
                <a:gd name="connsiteX20" fmla="*/ 2834384 w 3054645"/>
                <a:gd name="connsiteY20" fmla="*/ 1272012 h 3074853"/>
                <a:gd name="connsiteX21" fmla="*/ 1538578 w 3054645"/>
                <a:gd name="connsiteY21" fmla="*/ 215900 h 3074853"/>
                <a:gd name="connsiteX22" fmla="*/ 1023732 w 3054645"/>
                <a:gd name="connsiteY22" fmla="*/ 319843 h 3074853"/>
                <a:gd name="connsiteX23" fmla="*/ 916382 w 3054645"/>
                <a:gd name="connsiteY23" fmla="*/ 371556 h 3074853"/>
                <a:gd name="connsiteX24" fmla="*/ 847286 w 3054645"/>
                <a:gd name="connsiteY24" fmla="*/ 165425 h 3074853"/>
                <a:gd name="connsiteX25" fmla="*/ 939694 w 3054645"/>
                <a:gd name="connsiteY25" fmla="*/ 120909 h 3074853"/>
                <a:gd name="connsiteX26" fmla="*/ 1538578 w 3054645"/>
                <a:gd name="connsiteY26" fmla="*/ 0 h 3074853"/>
                <a:gd name="connsiteX0" fmla="*/ 1798468 w 3054645"/>
                <a:gd name="connsiteY0" fmla="*/ 3003026 h 3074853"/>
                <a:gd name="connsiteX1" fmla="*/ 1695889 w 3054645"/>
                <a:gd name="connsiteY1" fmla="*/ 3069213 h 3074853"/>
                <a:gd name="connsiteX2" fmla="*/ 1584190 w 3054645"/>
                <a:gd name="connsiteY2" fmla="*/ 3074853 h 3074853"/>
                <a:gd name="connsiteX3" fmla="*/ 1798468 w 3054645"/>
                <a:gd name="connsiteY3" fmla="*/ 3003026 h 3074853"/>
                <a:gd name="connsiteX4" fmla="*/ 104172 w 3054645"/>
                <a:gd name="connsiteY4" fmla="*/ 985424 h 3074853"/>
                <a:gd name="connsiteX5" fmla="*/ 229465 w 3054645"/>
                <a:gd name="connsiteY5" fmla="*/ 1359204 h 3074853"/>
                <a:gd name="connsiteX6" fmla="*/ 222729 w 3054645"/>
                <a:gd name="connsiteY6" fmla="*/ 1403342 h 3074853"/>
                <a:gd name="connsiteX7" fmla="*/ 215900 w 3054645"/>
                <a:gd name="connsiteY7" fmla="*/ 1538578 h 3074853"/>
                <a:gd name="connsiteX8" fmla="*/ 391140 w 3054645"/>
                <a:gd name="connsiteY8" fmla="*/ 2196950 h 3074853"/>
                <a:gd name="connsiteX9" fmla="*/ 395806 w 3054645"/>
                <a:gd name="connsiteY9" fmla="*/ 2203683 h 3074853"/>
                <a:gd name="connsiteX10" fmla="*/ 536944 w 3054645"/>
                <a:gd name="connsiteY10" fmla="*/ 2705995 h 3074853"/>
                <a:gd name="connsiteX11" fmla="*/ 531694 w 3054645"/>
                <a:gd name="connsiteY11" fmla="*/ 2701970 h 3074853"/>
                <a:gd name="connsiteX12" fmla="*/ 0 w 3054645"/>
                <a:gd name="connsiteY12" fmla="*/ 1538578 h 3074853"/>
                <a:gd name="connsiteX13" fmla="*/ 69172 w 3054645"/>
                <a:gd name="connsiteY13" fmla="*/ 1081052 h 3074853"/>
                <a:gd name="connsiteX14" fmla="*/ 104172 w 3054645"/>
                <a:gd name="connsiteY14" fmla="*/ 985424 h 3074853"/>
                <a:gd name="connsiteX15" fmla="*/ 1538578 w 3054645"/>
                <a:gd name="connsiteY15" fmla="*/ 0 h 3074853"/>
                <a:gd name="connsiteX16" fmla="*/ 3045898 w 3054645"/>
                <a:gd name="connsiteY16" fmla="*/ 1228501 h 3074853"/>
                <a:gd name="connsiteX17" fmla="*/ 3054645 w 3054645"/>
                <a:gd name="connsiteY17" fmla="*/ 1285815 h 3074853"/>
                <a:gd name="connsiteX18" fmla="*/ 2845461 w 3054645"/>
                <a:gd name="connsiteY18" fmla="*/ 1344591 h 3074853"/>
                <a:gd name="connsiteX19" fmla="*/ 2834384 w 3054645"/>
                <a:gd name="connsiteY19" fmla="*/ 1272012 h 3074853"/>
                <a:gd name="connsiteX20" fmla="*/ 1538578 w 3054645"/>
                <a:gd name="connsiteY20" fmla="*/ 215900 h 3074853"/>
                <a:gd name="connsiteX21" fmla="*/ 1023732 w 3054645"/>
                <a:gd name="connsiteY21" fmla="*/ 319843 h 3074853"/>
                <a:gd name="connsiteX22" fmla="*/ 916382 w 3054645"/>
                <a:gd name="connsiteY22" fmla="*/ 371556 h 3074853"/>
                <a:gd name="connsiteX23" fmla="*/ 847286 w 3054645"/>
                <a:gd name="connsiteY23" fmla="*/ 165425 h 3074853"/>
                <a:gd name="connsiteX24" fmla="*/ 939694 w 3054645"/>
                <a:gd name="connsiteY24" fmla="*/ 120909 h 3074853"/>
                <a:gd name="connsiteX25" fmla="*/ 1538578 w 3054645"/>
                <a:gd name="connsiteY25" fmla="*/ 0 h 3074853"/>
                <a:gd name="connsiteX0" fmla="*/ 1584190 w 3054645"/>
                <a:gd name="connsiteY0" fmla="*/ 3074853 h 3074853"/>
                <a:gd name="connsiteX1" fmla="*/ 1695889 w 3054645"/>
                <a:gd name="connsiteY1" fmla="*/ 3069213 h 3074853"/>
                <a:gd name="connsiteX2" fmla="*/ 1584190 w 3054645"/>
                <a:gd name="connsiteY2" fmla="*/ 3074853 h 3074853"/>
                <a:gd name="connsiteX3" fmla="*/ 104172 w 3054645"/>
                <a:gd name="connsiteY3" fmla="*/ 985424 h 3074853"/>
                <a:gd name="connsiteX4" fmla="*/ 229465 w 3054645"/>
                <a:gd name="connsiteY4" fmla="*/ 1359204 h 3074853"/>
                <a:gd name="connsiteX5" fmla="*/ 222729 w 3054645"/>
                <a:gd name="connsiteY5" fmla="*/ 1403342 h 3074853"/>
                <a:gd name="connsiteX6" fmla="*/ 215900 w 3054645"/>
                <a:gd name="connsiteY6" fmla="*/ 1538578 h 3074853"/>
                <a:gd name="connsiteX7" fmla="*/ 391140 w 3054645"/>
                <a:gd name="connsiteY7" fmla="*/ 2196950 h 3074853"/>
                <a:gd name="connsiteX8" fmla="*/ 395806 w 3054645"/>
                <a:gd name="connsiteY8" fmla="*/ 2203683 h 3074853"/>
                <a:gd name="connsiteX9" fmla="*/ 536944 w 3054645"/>
                <a:gd name="connsiteY9" fmla="*/ 2705995 h 3074853"/>
                <a:gd name="connsiteX10" fmla="*/ 531694 w 3054645"/>
                <a:gd name="connsiteY10" fmla="*/ 2701970 h 3074853"/>
                <a:gd name="connsiteX11" fmla="*/ 0 w 3054645"/>
                <a:gd name="connsiteY11" fmla="*/ 1538578 h 3074853"/>
                <a:gd name="connsiteX12" fmla="*/ 69172 w 3054645"/>
                <a:gd name="connsiteY12" fmla="*/ 1081052 h 3074853"/>
                <a:gd name="connsiteX13" fmla="*/ 104172 w 3054645"/>
                <a:gd name="connsiteY13" fmla="*/ 985424 h 3074853"/>
                <a:gd name="connsiteX14" fmla="*/ 1538578 w 3054645"/>
                <a:gd name="connsiteY14" fmla="*/ 0 h 3074853"/>
                <a:gd name="connsiteX15" fmla="*/ 3045898 w 3054645"/>
                <a:gd name="connsiteY15" fmla="*/ 1228501 h 3074853"/>
                <a:gd name="connsiteX16" fmla="*/ 3054645 w 3054645"/>
                <a:gd name="connsiteY16" fmla="*/ 1285815 h 3074853"/>
                <a:gd name="connsiteX17" fmla="*/ 2845461 w 3054645"/>
                <a:gd name="connsiteY17" fmla="*/ 1344591 h 3074853"/>
                <a:gd name="connsiteX18" fmla="*/ 2834384 w 3054645"/>
                <a:gd name="connsiteY18" fmla="*/ 1272012 h 3074853"/>
                <a:gd name="connsiteX19" fmla="*/ 1538578 w 3054645"/>
                <a:gd name="connsiteY19" fmla="*/ 215900 h 3074853"/>
                <a:gd name="connsiteX20" fmla="*/ 1023732 w 3054645"/>
                <a:gd name="connsiteY20" fmla="*/ 319843 h 3074853"/>
                <a:gd name="connsiteX21" fmla="*/ 916382 w 3054645"/>
                <a:gd name="connsiteY21" fmla="*/ 371556 h 3074853"/>
                <a:gd name="connsiteX22" fmla="*/ 847286 w 3054645"/>
                <a:gd name="connsiteY22" fmla="*/ 165425 h 3074853"/>
                <a:gd name="connsiteX23" fmla="*/ 939694 w 3054645"/>
                <a:gd name="connsiteY23" fmla="*/ 120909 h 3074853"/>
                <a:gd name="connsiteX24" fmla="*/ 1538578 w 3054645"/>
                <a:gd name="connsiteY24" fmla="*/ 0 h 3074853"/>
                <a:gd name="connsiteX0" fmla="*/ 104172 w 3054645"/>
                <a:gd name="connsiteY0" fmla="*/ 985424 h 2705995"/>
                <a:gd name="connsiteX1" fmla="*/ 229465 w 3054645"/>
                <a:gd name="connsiteY1" fmla="*/ 1359204 h 2705995"/>
                <a:gd name="connsiteX2" fmla="*/ 222729 w 3054645"/>
                <a:gd name="connsiteY2" fmla="*/ 1403342 h 2705995"/>
                <a:gd name="connsiteX3" fmla="*/ 215900 w 3054645"/>
                <a:gd name="connsiteY3" fmla="*/ 1538578 h 2705995"/>
                <a:gd name="connsiteX4" fmla="*/ 391140 w 3054645"/>
                <a:gd name="connsiteY4" fmla="*/ 2196950 h 2705995"/>
                <a:gd name="connsiteX5" fmla="*/ 395806 w 3054645"/>
                <a:gd name="connsiteY5" fmla="*/ 2203683 h 2705995"/>
                <a:gd name="connsiteX6" fmla="*/ 536944 w 3054645"/>
                <a:gd name="connsiteY6" fmla="*/ 2705995 h 2705995"/>
                <a:gd name="connsiteX7" fmla="*/ 531694 w 3054645"/>
                <a:gd name="connsiteY7" fmla="*/ 2701970 h 2705995"/>
                <a:gd name="connsiteX8" fmla="*/ 0 w 3054645"/>
                <a:gd name="connsiteY8" fmla="*/ 1538578 h 2705995"/>
                <a:gd name="connsiteX9" fmla="*/ 69172 w 3054645"/>
                <a:gd name="connsiteY9" fmla="*/ 1081052 h 2705995"/>
                <a:gd name="connsiteX10" fmla="*/ 104172 w 3054645"/>
                <a:gd name="connsiteY10" fmla="*/ 985424 h 2705995"/>
                <a:gd name="connsiteX11" fmla="*/ 1538578 w 3054645"/>
                <a:gd name="connsiteY11" fmla="*/ 0 h 2705995"/>
                <a:gd name="connsiteX12" fmla="*/ 3045898 w 3054645"/>
                <a:gd name="connsiteY12" fmla="*/ 1228501 h 2705995"/>
                <a:gd name="connsiteX13" fmla="*/ 3054645 w 3054645"/>
                <a:gd name="connsiteY13" fmla="*/ 1285815 h 2705995"/>
                <a:gd name="connsiteX14" fmla="*/ 2845461 w 3054645"/>
                <a:gd name="connsiteY14" fmla="*/ 1344591 h 2705995"/>
                <a:gd name="connsiteX15" fmla="*/ 2834384 w 3054645"/>
                <a:gd name="connsiteY15" fmla="*/ 1272012 h 2705995"/>
                <a:gd name="connsiteX16" fmla="*/ 1538578 w 3054645"/>
                <a:gd name="connsiteY16" fmla="*/ 215900 h 2705995"/>
                <a:gd name="connsiteX17" fmla="*/ 1023732 w 3054645"/>
                <a:gd name="connsiteY17" fmla="*/ 319843 h 2705995"/>
                <a:gd name="connsiteX18" fmla="*/ 916382 w 3054645"/>
                <a:gd name="connsiteY18" fmla="*/ 371556 h 2705995"/>
                <a:gd name="connsiteX19" fmla="*/ 847286 w 3054645"/>
                <a:gd name="connsiteY19" fmla="*/ 165425 h 2705995"/>
                <a:gd name="connsiteX20" fmla="*/ 939694 w 3054645"/>
                <a:gd name="connsiteY20" fmla="*/ 120909 h 2705995"/>
                <a:gd name="connsiteX21" fmla="*/ 1538578 w 3054645"/>
                <a:gd name="connsiteY21" fmla="*/ 0 h 2705995"/>
                <a:gd name="connsiteX0" fmla="*/ 104172 w 3054645"/>
                <a:gd name="connsiteY0" fmla="*/ 985424 h 2705995"/>
                <a:gd name="connsiteX1" fmla="*/ 229465 w 3054645"/>
                <a:gd name="connsiteY1" fmla="*/ 1359204 h 2705995"/>
                <a:gd name="connsiteX2" fmla="*/ 222729 w 3054645"/>
                <a:gd name="connsiteY2" fmla="*/ 1403342 h 2705995"/>
                <a:gd name="connsiteX3" fmla="*/ 215900 w 3054645"/>
                <a:gd name="connsiteY3" fmla="*/ 1538578 h 2705995"/>
                <a:gd name="connsiteX4" fmla="*/ 391140 w 3054645"/>
                <a:gd name="connsiteY4" fmla="*/ 2196950 h 2705995"/>
                <a:gd name="connsiteX5" fmla="*/ 395806 w 3054645"/>
                <a:gd name="connsiteY5" fmla="*/ 2203683 h 2705995"/>
                <a:gd name="connsiteX6" fmla="*/ 536944 w 3054645"/>
                <a:gd name="connsiteY6" fmla="*/ 2705995 h 2705995"/>
                <a:gd name="connsiteX7" fmla="*/ 0 w 3054645"/>
                <a:gd name="connsiteY7" fmla="*/ 1538578 h 2705995"/>
                <a:gd name="connsiteX8" fmla="*/ 69172 w 3054645"/>
                <a:gd name="connsiteY8" fmla="*/ 1081052 h 2705995"/>
                <a:gd name="connsiteX9" fmla="*/ 104172 w 3054645"/>
                <a:gd name="connsiteY9" fmla="*/ 985424 h 2705995"/>
                <a:gd name="connsiteX10" fmla="*/ 1538578 w 3054645"/>
                <a:gd name="connsiteY10" fmla="*/ 0 h 2705995"/>
                <a:gd name="connsiteX11" fmla="*/ 3045898 w 3054645"/>
                <a:gd name="connsiteY11" fmla="*/ 1228501 h 2705995"/>
                <a:gd name="connsiteX12" fmla="*/ 3054645 w 3054645"/>
                <a:gd name="connsiteY12" fmla="*/ 1285815 h 2705995"/>
                <a:gd name="connsiteX13" fmla="*/ 2845461 w 3054645"/>
                <a:gd name="connsiteY13" fmla="*/ 1344591 h 2705995"/>
                <a:gd name="connsiteX14" fmla="*/ 2834384 w 3054645"/>
                <a:gd name="connsiteY14" fmla="*/ 1272012 h 2705995"/>
                <a:gd name="connsiteX15" fmla="*/ 1538578 w 3054645"/>
                <a:gd name="connsiteY15" fmla="*/ 215900 h 2705995"/>
                <a:gd name="connsiteX16" fmla="*/ 1023732 w 3054645"/>
                <a:gd name="connsiteY16" fmla="*/ 319843 h 2705995"/>
                <a:gd name="connsiteX17" fmla="*/ 916382 w 3054645"/>
                <a:gd name="connsiteY17" fmla="*/ 371556 h 2705995"/>
                <a:gd name="connsiteX18" fmla="*/ 847286 w 3054645"/>
                <a:gd name="connsiteY18" fmla="*/ 165425 h 2705995"/>
                <a:gd name="connsiteX19" fmla="*/ 939694 w 3054645"/>
                <a:gd name="connsiteY19" fmla="*/ 120909 h 2705995"/>
                <a:gd name="connsiteX20" fmla="*/ 1538578 w 3054645"/>
                <a:gd name="connsiteY20" fmla="*/ 0 h 2705995"/>
                <a:gd name="connsiteX0" fmla="*/ 104172 w 3054645"/>
                <a:gd name="connsiteY0" fmla="*/ 985424 h 2705995"/>
                <a:gd name="connsiteX1" fmla="*/ 229465 w 3054645"/>
                <a:gd name="connsiteY1" fmla="*/ 1359204 h 2705995"/>
                <a:gd name="connsiteX2" fmla="*/ 222729 w 3054645"/>
                <a:gd name="connsiteY2" fmla="*/ 1403342 h 2705995"/>
                <a:gd name="connsiteX3" fmla="*/ 215900 w 3054645"/>
                <a:gd name="connsiteY3" fmla="*/ 1538578 h 2705995"/>
                <a:gd name="connsiteX4" fmla="*/ 391140 w 3054645"/>
                <a:gd name="connsiteY4" fmla="*/ 2196950 h 2705995"/>
                <a:gd name="connsiteX5" fmla="*/ 536944 w 3054645"/>
                <a:gd name="connsiteY5" fmla="*/ 2705995 h 2705995"/>
                <a:gd name="connsiteX6" fmla="*/ 0 w 3054645"/>
                <a:gd name="connsiteY6" fmla="*/ 1538578 h 2705995"/>
                <a:gd name="connsiteX7" fmla="*/ 69172 w 3054645"/>
                <a:gd name="connsiteY7" fmla="*/ 1081052 h 2705995"/>
                <a:gd name="connsiteX8" fmla="*/ 104172 w 3054645"/>
                <a:gd name="connsiteY8" fmla="*/ 985424 h 2705995"/>
                <a:gd name="connsiteX9" fmla="*/ 1538578 w 3054645"/>
                <a:gd name="connsiteY9" fmla="*/ 0 h 2705995"/>
                <a:gd name="connsiteX10" fmla="*/ 3045898 w 3054645"/>
                <a:gd name="connsiteY10" fmla="*/ 1228501 h 2705995"/>
                <a:gd name="connsiteX11" fmla="*/ 3054645 w 3054645"/>
                <a:gd name="connsiteY11" fmla="*/ 1285815 h 2705995"/>
                <a:gd name="connsiteX12" fmla="*/ 2845461 w 3054645"/>
                <a:gd name="connsiteY12" fmla="*/ 1344591 h 2705995"/>
                <a:gd name="connsiteX13" fmla="*/ 2834384 w 3054645"/>
                <a:gd name="connsiteY13" fmla="*/ 1272012 h 2705995"/>
                <a:gd name="connsiteX14" fmla="*/ 1538578 w 3054645"/>
                <a:gd name="connsiteY14" fmla="*/ 215900 h 2705995"/>
                <a:gd name="connsiteX15" fmla="*/ 1023732 w 3054645"/>
                <a:gd name="connsiteY15" fmla="*/ 319843 h 2705995"/>
                <a:gd name="connsiteX16" fmla="*/ 916382 w 3054645"/>
                <a:gd name="connsiteY16" fmla="*/ 371556 h 2705995"/>
                <a:gd name="connsiteX17" fmla="*/ 847286 w 3054645"/>
                <a:gd name="connsiteY17" fmla="*/ 165425 h 2705995"/>
                <a:gd name="connsiteX18" fmla="*/ 939694 w 3054645"/>
                <a:gd name="connsiteY18" fmla="*/ 120909 h 2705995"/>
                <a:gd name="connsiteX19" fmla="*/ 1538578 w 3054645"/>
                <a:gd name="connsiteY19" fmla="*/ 0 h 2705995"/>
                <a:gd name="connsiteX0" fmla="*/ 104172 w 3054645"/>
                <a:gd name="connsiteY0" fmla="*/ 985424 h 2196950"/>
                <a:gd name="connsiteX1" fmla="*/ 229465 w 3054645"/>
                <a:gd name="connsiteY1" fmla="*/ 1359204 h 2196950"/>
                <a:gd name="connsiteX2" fmla="*/ 222729 w 3054645"/>
                <a:gd name="connsiteY2" fmla="*/ 1403342 h 2196950"/>
                <a:gd name="connsiteX3" fmla="*/ 215900 w 3054645"/>
                <a:gd name="connsiteY3" fmla="*/ 1538578 h 2196950"/>
                <a:gd name="connsiteX4" fmla="*/ 391140 w 3054645"/>
                <a:gd name="connsiteY4" fmla="*/ 2196950 h 2196950"/>
                <a:gd name="connsiteX5" fmla="*/ 0 w 3054645"/>
                <a:gd name="connsiteY5" fmla="*/ 1538578 h 2196950"/>
                <a:gd name="connsiteX6" fmla="*/ 69172 w 3054645"/>
                <a:gd name="connsiteY6" fmla="*/ 1081052 h 2196950"/>
                <a:gd name="connsiteX7" fmla="*/ 104172 w 3054645"/>
                <a:gd name="connsiteY7" fmla="*/ 985424 h 2196950"/>
                <a:gd name="connsiteX8" fmla="*/ 1538578 w 3054645"/>
                <a:gd name="connsiteY8" fmla="*/ 0 h 2196950"/>
                <a:gd name="connsiteX9" fmla="*/ 3045898 w 3054645"/>
                <a:gd name="connsiteY9" fmla="*/ 1228501 h 2196950"/>
                <a:gd name="connsiteX10" fmla="*/ 3054645 w 3054645"/>
                <a:gd name="connsiteY10" fmla="*/ 1285815 h 2196950"/>
                <a:gd name="connsiteX11" fmla="*/ 2845461 w 3054645"/>
                <a:gd name="connsiteY11" fmla="*/ 1344591 h 2196950"/>
                <a:gd name="connsiteX12" fmla="*/ 2834384 w 3054645"/>
                <a:gd name="connsiteY12" fmla="*/ 1272012 h 2196950"/>
                <a:gd name="connsiteX13" fmla="*/ 1538578 w 3054645"/>
                <a:gd name="connsiteY13" fmla="*/ 215900 h 2196950"/>
                <a:gd name="connsiteX14" fmla="*/ 1023732 w 3054645"/>
                <a:gd name="connsiteY14" fmla="*/ 319843 h 2196950"/>
                <a:gd name="connsiteX15" fmla="*/ 916382 w 3054645"/>
                <a:gd name="connsiteY15" fmla="*/ 371556 h 2196950"/>
                <a:gd name="connsiteX16" fmla="*/ 847286 w 3054645"/>
                <a:gd name="connsiteY16" fmla="*/ 165425 h 2196950"/>
                <a:gd name="connsiteX17" fmla="*/ 939694 w 3054645"/>
                <a:gd name="connsiteY17" fmla="*/ 120909 h 2196950"/>
                <a:gd name="connsiteX18" fmla="*/ 1538578 w 3054645"/>
                <a:gd name="connsiteY18" fmla="*/ 0 h 2196950"/>
                <a:gd name="connsiteX0" fmla="*/ 110722 w 3061195"/>
                <a:gd name="connsiteY0" fmla="*/ 985424 h 1578053"/>
                <a:gd name="connsiteX1" fmla="*/ 236015 w 3061195"/>
                <a:gd name="connsiteY1" fmla="*/ 1359204 h 1578053"/>
                <a:gd name="connsiteX2" fmla="*/ 229279 w 3061195"/>
                <a:gd name="connsiteY2" fmla="*/ 1403342 h 1578053"/>
                <a:gd name="connsiteX3" fmla="*/ 222450 w 3061195"/>
                <a:gd name="connsiteY3" fmla="*/ 1538578 h 1578053"/>
                <a:gd name="connsiteX4" fmla="*/ 6550 w 3061195"/>
                <a:gd name="connsiteY4" fmla="*/ 1538578 h 1578053"/>
                <a:gd name="connsiteX5" fmla="*/ 75722 w 3061195"/>
                <a:gd name="connsiteY5" fmla="*/ 1081052 h 1578053"/>
                <a:gd name="connsiteX6" fmla="*/ 110722 w 3061195"/>
                <a:gd name="connsiteY6" fmla="*/ 985424 h 1578053"/>
                <a:gd name="connsiteX7" fmla="*/ 1545128 w 3061195"/>
                <a:gd name="connsiteY7" fmla="*/ 0 h 1578053"/>
                <a:gd name="connsiteX8" fmla="*/ 3052448 w 3061195"/>
                <a:gd name="connsiteY8" fmla="*/ 1228501 h 1578053"/>
                <a:gd name="connsiteX9" fmla="*/ 3061195 w 3061195"/>
                <a:gd name="connsiteY9" fmla="*/ 1285815 h 1578053"/>
                <a:gd name="connsiteX10" fmla="*/ 2852011 w 3061195"/>
                <a:gd name="connsiteY10" fmla="*/ 1344591 h 1578053"/>
                <a:gd name="connsiteX11" fmla="*/ 2840934 w 3061195"/>
                <a:gd name="connsiteY11" fmla="*/ 1272012 h 1578053"/>
                <a:gd name="connsiteX12" fmla="*/ 1545128 w 3061195"/>
                <a:gd name="connsiteY12" fmla="*/ 215900 h 1578053"/>
                <a:gd name="connsiteX13" fmla="*/ 1030282 w 3061195"/>
                <a:gd name="connsiteY13" fmla="*/ 319843 h 1578053"/>
                <a:gd name="connsiteX14" fmla="*/ 922932 w 3061195"/>
                <a:gd name="connsiteY14" fmla="*/ 371556 h 1578053"/>
                <a:gd name="connsiteX15" fmla="*/ 853836 w 3061195"/>
                <a:gd name="connsiteY15" fmla="*/ 165425 h 1578053"/>
                <a:gd name="connsiteX16" fmla="*/ 946244 w 3061195"/>
                <a:gd name="connsiteY16" fmla="*/ 120909 h 1578053"/>
                <a:gd name="connsiteX17" fmla="*/ 1545128 w 3061195"/>
                <a:gd name="connsiteY17" fmla="*/ 0 h 1578053"/>
                <a:gd name="connsiteX0" fmla="*/ 111144 w 3061617"/>
                <a:gd name="connsiteY0" fmla="*/ 985424 h 1549568"/>
                <a:gd name="connsiteX1" fmla="*/ 236437 w 3061617"/>
                <a:gd name="connsiteY1" fmla="*/ 1359204 h 1549568"/>
                <a:gd name="connsiteX2" fmla="*/ 229701 w 3061617"/>
                <a:gd name="connsiteY2" fmla="*/ 1403342 h 1549568"/>
                <a:gd name="connsiteX3" fmla="*/ 6972 w 3061617"/>
                <a:gd name="connsiteY3" fmla="*/ 1538578 h 1549568"/>
                <a:gd name="connsiteX4" fmla="*/ 76144 w 3061617"/>
                <a:gd name="connsiteY4" fmla="*/ 1081052 h 1549568"/>
                <a:gd name="connsiteX5" fmla="*/ 111144 w 3061617"/>
                <a:gd name="connsiteY5" fmla="*/ 985424 h 1549568"/>
                <a:gd name="connsiteX6" fmla="*/ 1545550 w 3061617"/>
                <a:gd name="connsiteY6" fmla="*/ 0 h 1549568"/>
                <a:gd name="connsiteX7" fmla="*/ 3052870 w 3061617"/>
                <a:gd name="connsiteY7" fmla="*/ 1228501 h 1549568"/>
                <a:gd name="connsiteX8" fmla="*/ 3061617 w 3061617"/>
                <a:gd name="connsiteY8" fmla="*/ 1285815 h 1549568"/>
                <a:gd name="connsiteX9" fmla="*/ 2852433 w 3061617"/>
                <a:gd name="connsiteY9" fmla="*/ 1344591 h 1549568"/>
                <a:gd name="connsiteX10" fmla="*/ 2841356 w 3061617"/>
                <a:gd name="connsiteY10" fmla="*/ 1272012 h 1549568"/>
                <a:gd name="connsiteX11" fmla="*/ 1545550 w 3061617"/>
                <a:gd name="connsiteY11" fmla="*/ 215900 h 1549568"/>
                <a:gd name="connsiteX12" fmla="*/ 1030704 w 3061617"/>
                <a:gd name="connsiteY12" fmla="*/ 319843 h 1549568"/>
                <a:gd name="connsiteX13" fmla="*/ 923354 w 3061617"/>
                <a:gd name="connsiteY13" fmla="*/ 371556 h 1549568"/>
                <a:gd name="connsiteX14" fmla="*/ 854258 w 3061617"/>
                <a:gd name="connsiteY14" fmla="*/ 165425 h 1549568"/>
                <a:gd name="connsiteX15" fmla="*/ 946666 w 3061617"/>
                <a:gd name="connsiteY15" fmla="*/ 120909 h 1549568"/>
                <a:gd name="connsiteX16" fmla="*/ 1545550 w 3061617"/>
                <a:gd name="connsiteY16" fmla="*/ 0 h 1549568"/>
                <a:gd name="connsiteX0" fmla="*/ 111144 w 3061617"/>
                <a:gd name="connsiteY0" fmla="*/ 985424 h 1538578"/>
                <a:gd name="connsiteX1" fmla="*/ 236437 w 3061617"/>
                <a:gd name="connsiteY1" fmla="*/ 1359204 h 1538578"/>
                <a:gd name="connsiteX2" fmla="*/ 6972 w 3061617"/>
                <a:gd name="connsiteY2" fmla="*/ 1538578 h 1538578"/>
                <a:gd name="connsiteX3" fmla="*/ 76144 w 3061617"/>
                <a:gd name="connsiteY3" fmla="*/ 1081052 h 1538578"/>
                <a:gd name="connsiteX4" fmla="*/ 111144 w 3061617"/>
                <a:gd name="connsiteY4" fmla="*/ 985424 h 1538578"/>
                <a:gd name="connsiteX5" fmla="*/ 1545550 w 3061617"/>
                <a:gd name="connsiteY5" fmla="*/ 0 h 1538578"/>
                <a:gd name="connsiteX6" fmla="*/ 3052870 w 3061617"/>
                <a:gd name="connsiteY6" fmla="*/ 1228501 h 1538578"/>
                <a:gd name="connsiteX7" fmla="*/ 3061617 w 3061617"/>
                <a:gd name="connsiteY7" fmla="*/ 1285815 h 1538578"/>
                <a:gd name="connsiteX8" fmla="*/ 2852433 w 3061617"/>
                <a:gd name="connsiteY8" fmla="*/ 1344591 h 1538578"/>
                <a:gd name="connsiteX9" fmla="*/ 2841356 w 3061617"/>
                <a:gd name="connsiteY9" fmla="*/ 1272012 h 1538578"/>
                <a:gd name="connsiteX10" fmla="*/ 1545550 w 3061617"/>
                <a:gd name="connsiteY10" fmla="*/ 215900 h 1538578"/>
                <a:gd name="connsiteX11" fmla="*/ 1030704 w 3061617"/>
                <a:gd name="connsiteY11" fmla="*/ 319843 h 1538578"/>
                <a:gd name="connsiteX12" fmla="*/ 923354 w 3061617"/>
                <a:gd name="connsiteY12" fmla="*/ 371556 h 1538578"/>
                <a:gd name="connsiteX13" fmla="*/ 854258 w 3061617"/>
                <a:gd name="connsiteY13" fmla="*/ 165425 h 1538578"/>
                <a:gd name="connsiteX14" fmla="*/ 946666 w 3061617"/>
                <a:gd name="connsiteY14" fmla="*/ 120909 h 1538578"/>
                <a:gd name="connsiteX15" fmla="*/ 1545550 w 3061617"/>
                <a:gd name="connsiteY15" fmla="*/ 0 h 1538578"/>
                <a:gd name="connsiteX0" fmla="*/ 111144 w 3061617"/>
                <a:gd name="connsiteY0" fmla="*/ 985424 h 1538578"/>
                <a:gd name="connsiteX1" fmla="*/ 6972 w 3061617"/>
                <a:gd name="connsiteY1" fmla="*/ 1538578 h 1538578"/>
                <a:gd name="connsiteX2" fmla="*/ 76144 w 3061617"/>
                <a:gd name="connsiteY2" fmla="*/ 1081052 h 1538578"/>
                <a:gd name="connsiteX3" fmla="*/ 111144 w 3061617"/>
                <a:gd name="connsiteY3" fmla="*/ 985424 h 1538578"/>
                <a:gd name="connsiteX4" fmla="*/ 1545550 w 3061617"/>
                <a:gd name="connsiteY4" fmla="*/ 0 h 1538578"/>
                <a:gd name="connsiteX5" fmla="*/ 3052870 w 3061617"/>
                <a:gd name="connsiteY5" fmla="*/ 1228501 h 1538578"/>
                <a:gd name="connsiteX6" fmla="*/ 3061617 w 3061617"/>
                <a:gd name="connsiteY6" fmla="*/ 1285815 h 1538578"/>
                <a:gd name="connsiteX7" fmla="*/ 2852433 w 3061617"/>
                <a:gd name="connsiteY7" fmla="*/ 1344591 h 1538578"/>
                <a:gd name="connsiteX8" fmla="*/ 2841356 w 3061617"/>
                <a:gd name="connsiteY8" fmla="*/ 1272012 h 1538578"/>
                <a:gd name="connsiteX9" fmla="*/ 1545550 w 3061617"/>
                <a:gd name="connsiteY9" fmla="*/ 215900 h 1538578"/>
                <a:gd name="connsiteX10" fmla="*/ 1030704 w 3061617"/>
                <a:gd name="connsiteY10" fmla="*/ 319843 h 1538578"/>
                <a:gd name="connsiteX11" fmla="*/ 923354 w 3061617"/>
                <a:gd name="connsiteY11" fmla="*/ 371556 h 1538578"/>
                <a:gd name="connsiteX12" fmla="*/ 854258 w 3061617"/>
                <a:gd name="connsiteY12" fmla="*/ 165425 h 1538578"/>
                <a:gd name="connsiteX13" fmla="*/ 946666 w 3061617"/>
                <a:gd name="connsiteY13" fmla="*/ 120909 h 1538578"/>
                <a:gd name="connsiteX14" fmla="*/ 1545550 w 3061617"/>
                <a:gd name="connsiteY14" fmla="*/ 0 h 1538578"/>
                <a:gd name="connsiteX0" fmla="*/ 35000 w 2985473"/>
                <a:gd name="connsiteY0" fmla="*/ 985424 h 1344591"/>
                <a:gd name="connsiteX1" fmla="*/ 0 w 2985473"/>
                <a:gd name="connsiteY1" fmla="*/ 1081052 h 1344591"/>
                <a:gd name="connsiteX2" fmla="*/ 35000 w 2985473"/>
                <a:gd name="connsiteY2" fmla="*/ 985424 h 1344591"/>
                <a:gd name="connsiteX3" fmla="*/ 1469406 w 2985473"/>
                <a:gd name="connsiteY3" fmla="*/ 0 h 1344591"/>
                <a:gd name="connsiteX4" fmla="*/ 2976726 w 2985473"/>
                <a:gd name="connsiteY4" fmla="*/ 1228501 h 1344591"/>
                <a:gd name="connsiteX5" fmla="*/ 2985473 w 2985473"/>
                <a:gd name="connsiteY5" fmla="*/ 1285815 h 1344591"/>
                <a:gd name="connsiteX6" fmla="*/ 2776289 w 2985473"/>
                <a:gd name="connsiteY6" fmla="*/ 1344591 h 1344591"/>
                <a:gd name="connsiteX7" fmla="*/ 2765212 w 2985473"/>
                <a:gd name="connsiteY7" fmla="*/ 1272012 h 1344591"/>
                <a:gd name="connsiteX8" fmla="*/ 1469406 w 2985473"/>
                <a:gd name="connsiteY8" fmla="*/ 215900 h 1344591"/>
                <a:gd name="connsiteX9" fmla="*/ 954560 w 2985473"/>
                <a:gd name="connsiteY9" fmla="*/ 319843 h 1344591"/>
                <a:gd name="connsiteX10" fmla="*/ 847210 w 2985473"/>
                <a:gd name="connsiteY10" fmla="*/ 371556 h 1344591"/>
                <a:gd name="connsiteX11" fmla="*/ 778114 w 2985473"/>
                <a:gd name="connsiteY11" fmla="*/ 165425 h 1344591"/>
                <a:gd name="connsiteX12" fmla="*/ 870522 w 2985473"/>
                <a:gd name="connsiteY12" fmla="*/ 120909 h 1344591"/>
                <a:gd name="connsiteX13" fmla="*/ 1469406 w 2985473"/>
                <a:gd name="connsiteY13" fmla="*/ 0 h 1344591"/>
                <a:gd name="connsiteX0" fmla="*/ 691292 w 2207359"/>
                <a:gd name="connsiteY0" fmla="*/ 0 h 1344591"/>
                <a:gd name="connsiteX1" fmla="*/ 2198612 w 2207359"/>
                <a:gd name="connsiteY1" fmla="*/ 1228501 h 1344591"/>
                <a:gd name="connsiteX2" fmla="*/ 2207359 w 2207359"/>
                <a:gd name="connsiteY2" fmla="*/ 1285815 h 1344591"/>
                <a:gd name="connsiteX3" fmla="*/ 1998175 w 2207359"/>
                <a:gd name="connsiteY3" fmla="*/ 1344591 h 1344591"/>
                <a:gd name="connsiteX4" fmla="*/ 1987098 w 2207359"/>
                <a:gd name="connsiteY4" fmla="*/ 1272012 h 1344591"/>
                <a:gd name="connsiteX5" fmla="*/ 691292 w 2207359"/>
                <a:gd name="connsiteY5" fmla="*/ 215900 h 1344591"/>
                <a:gd name="connsiteX6" fmla="*/ 176446 w 2207359"/>
                <a:gd name="connsiteY6" fmla="*/ 319843 h 1344591"/>
                <a:gd name="connsiteX7" fmla="*/ 69096 w 2207359"/>
                <a:gd name="connsiteY7" fmla="*/ 371556 h 1344591"/>
                <a:gd name="connsiteX8" fmla="*/ 0 w 2207359"/>
                <a:gd name="connsiteY8" fmla="*/ 165425 h 1344591"/>
                <a:gd name="connsiteX9" fmla="*/ 92408 w 2207359"/>
                <a:gd name="connsiteY9" fmla="*/ 120909 h 1344591"/>
                <a:gd name="connsiteX10" fmla="*/ 691292 w 2207359"/>
                <a:gd name="connsiteY10" fmla="*/ 0 h 13445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07359" h="1344591">
                  <a:moveTo>
                    <a:pt x="691292" y="0"/>
                  </a:moveTo>
                  <a:cubicBezTo>
                    <a:pt x="1434809" y="0"/>
                    <a:pt x="2055145" y="527397"/>
                    <a:pt x="2198612" y="1228501"/>
                  </a:cubicBezTo>
                  <a:lnTo>
                    <a:pt x="2207359" y="1285815"/>
                  </a:lnTo>
                  <a:lnTo>
                    <a:pt x="1998175" y="1344591"/>
                  </a:lnTo>
                  <a:lnTo>
                    <a:pt x="1987098" y="1272012"/>
                  </a:lnTo>
                  <a:cubicBezTo>
                    <a:pt x="1863763" y="669290"/>
                    <a:pt x="1330475" y="215900"/>
                    <a:pt x="691292" y="215900"/>
                  </a:cubicBezTo>
                  <a:cubicBezTo>
                    <a:pt x="508668" y="215900"/>
                    <a:pt x="334689" y="252912"/>
                    <a:pt x="176446" y="319843"/>
                  </a:cubicBezTo>
                  <a:lnTo>
                    <a:pt x="69096" y="371556"/>
                  </a:lnTo>
                  <a:lnTo>
                    <a:pt x="0" y="165425"/>
                  </a:lnTo>
                  <a:lnTo>
                    <a:pt x="92408" y="120909"/>
                  </a:lnTo>
                  <a:cubicBezTo>
                    <a:pt x="276481" y="43053"/>
                    <a:pt x="478859" y="0"/>
                    <a:pt x="691292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7" name="Freeform 401">
              <a:extLst>
                <a:ext uri="{FF2B5EF4-FFF2-40B4-BE49-F238E27FC236}">
                  <a16:creationId xmlns:a16="http://schemas.microsoft.com/office/drawing/2014/main" id="{D041D0BB-AE6E-4ACD-AD65-4518AFC16924}"/>
                </a:ext>
              </a:extLst>
            </p:cNvPr>
            <p:cNvSpPr/>
            <p:nvPr/>
          </p:nvSpPr>
          <p:spPr>
            <a:xfrm rot="17641895">
              <a:off x="1882756" y="2581184"/>
              <a:ext cx="169292" cy="105535"/>
            </a:xfrm>
            <a:custGeom>
              <a:avLst/>
              <a:gdLst>
                <a:gd name="connsiteX0" fmla="*/ 522423 w 1529245"/>
                <a:gd name="connsiteY0" fmla="*/ 0 h 953313"/>
                <a:gd name="connsiteX1" fmla="*/ 1519621 w 1529245"/>
                <a:gd name="connsiteY1" fmla="*/ 812740 h 953313"/>
                <a:gd name="connsiteX2" fmla="*/ 1529245 w 1529245"/>
                <a:gd name="connsiteY2" fmla="*/ 908201 h 953313"/>
                <a:gd name="connsiteX3" fmla="*/ 1368692 w 1529245"/>
                <a:gd name="connsiteY3" fmla="*/ 953313 h 953313"/>
                <a:gd name="connsiteX4" fmla="*/ 1357876 w 1529245"/>
                <a:gd name="connsiteY4" fmla="*/ 846014 h 953313"/>
                <a:gd name="connsiteX5" fmla="*/ 522423 w 1529245"/>
                <a:gd name="connsiteY5" fmla="*/ 165100 h 953313"/>
                <a:gd name="connsiteX6" fmla="*/ 190484 w 1529245"/>
                <a:gd name="connsiteY6" fmla="*/ 232116 h 953313"/>
                <a:gd name="connsiteX7" fmla="*/ 53036 w 1529245"/>
                <a:gd name="connsiteY7" fmla="*/ 306720 h 953313"/>
                <a:gd name="connsiteX8" fmla="*/ 0 w 1529245"/>
                <a:gd name="connsiteY8" fmla="*/ 148500 h 953313"/>
                <a:gd name="connsiteX9" fmla="*/ 126219 w 1529245"/>
                <a:gd name="connsiteY9" fmla="*/ 79990 h 953313"/>
                <a:gd name="connsiteX10" fmla="*/ 522423 w 1529245"/>
                <a:gd name="connsiteY10" fmla="*/ 0 h 953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29245" h="953313">
                  <a:moveTo>
                    <a:pt x="522423" y="0"/>
                  </a:moveTo>
                  <a:cubicBezTo>
                    <a:pt x="1014311" y="0"/>
                    <a:pt x="1424708" y="348911"/>
                    <a:pt x="1519621" y="812740"/>
                  </a:cubicBezTo>
                  <a:lnTo>
                    <a:pt x="1529245" y="908201"/>
                  </a:lnTo>
                  <a:lnTo>
                    <a:pt x="1368692" y="953313"/>
                  </a:lnTo>
                  <a:lnTo>
                    <a:pt x="1357876" y="846014"/>
                  </a:lnTo>
                  <a:cubicBezTo>
                    <a:pt x="1278357" y="457417"/>
                    <a:pt x="934527" y="165100"/>
                    <a:pt x="522423" y="165100"/>
                  </a:cubicBezTo>
                  <a:cubicBezTo>
                    <a:pt x="404679" y="165100"/>
                    <a:pt x="292509" y="188963"/>
                    <a:pt x="190484" y="232116"/>
                  </a:cubicBezTo>
                  <a:lnTo>
                    <a:pt x="53036" y="306720"/>
                  </a:lnTo>
                  <a:lnTo>
                    <a:pt x="0" y="148500"/>
                  </a:lnTo>
                  <a:lnTo>
                    <a:pt x="126219" y="79990"/>
                  </a:lnTo>
                  <a:cubicBezTo>
                    <a:pt x="247997" y="28483"/>
                    <a:pt x="381884" y="0"/>
                    <a:pt x="522423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3F2C65B8-7267-4D82-93BF-29C2A0A981F1}"/>
              </a:ext>
            </a:extLst>
          </p:cNvPr>
          <p:cNvGrpSpPr/>
          <p:nvPr/>
        </p:nvGrpSpPr>
        <p:grpSpPr>
          <a:xfrm>
            <a:off x="4636011" y="1712631"/>
            <a:ext cx="1372584" cy="1317772"/>
            <a:chOff x="4636011" y="1712631"/>
            <a:chExt cx="1372584" cy="1317772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0D0DD39-02D9-4127-A00F-0B41021968A0}"/>
                </a:ext>
              </a:extLst>
            </p:cNvPr>
            <p:cNvGrpSpPr/>
            <p:nvPr/>
          </p:nvGrpSpPr>
          <p:grpSpPr>
            <a:xfrm>
              <a:off x="4636011" y="1712631"/>
              <a:ext cx="1372584" cy="1317772"/>
              <a:chOff x="9183381" y="895246"/>
              <a:chExt cx="1372584" cy="1317772"/>
            </a:xfrm>
          </p:grpSpPr>
          <p:sp>
            <p:nvSpPr>
              <p:cNvPr id="100" name="Freeform 40">
                <a:extLst>
                  <a:ext uri="{FF2B5EF4-FFF2-40B4-BE49-F238E27FC236}">
                    <a16:creationId xmlns:a16="http://schemas.microsoft.com/office/drawing/2014/main" id="{2FF53190-34F0-4E55-A975-EE8669D956A8}"/>
                  </a:ext>
                </a:extLst>
              </p:cNvPr>
              <p:cNvSpPr/>
              <p:nvPr/>
            </p:nvSpPr>
            <p:spPr>
              <a:xfrm flipV="1">
                <a:off x="9183381" y="895246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rgbClr val="007C9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1" name="Freeform 52">
                <a:extLst>
                  <a:ext uri="{FF2B5EF4-FFF2-40B4-BE49-F238E27FC236}">
                    <a16:creationId xmlns:a16="http://schemas.microsoft.com/office/drawing/2014/main" id="{020B44E4-C3FE-4D89-B185-B05880CF8987}"/>
                  </a:ext>
                </a:extLst>
              </p:cNvPr>
              <p:cNvSpPr/>
              <p:nvPr/>
            </p:nvSpPr>
            <p:spPr>
              <a:xfrm>
                <a:off x="9282471" y="981574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35" name="Rectangle 1">
              <a:extLst>
                <a:ext uri="{FF2B5EF4-FFF2-40B4-BE49-F238E27FC236}">
                  <a16:creationId xmlns:a16="http://schemas.microsoft.com/office/drawing/2014/main" id="{5017A77D-111C-42E2-9709-9C27018A8ACE}"/>
                </a:ext>
              </a:extLst>
            </p:cNvPr>
            <p:cNvSpPr/>
            <p:nvPr/>
          </p:nvSpPr>
          <p:spPr>
            <a:xfrm>
              <a:off x="5214556" y="2100771"/>
              <a:ext cx="380752" cy="204175"/>
            </a:xfrm>
            <a:custGeom>
              <a:avLst/>
              <a:gdLst>
                <a:gd name="connsiteX0" fmla="*/ 0 w 4516017"/>
                <a:gd name="connsiteY0" fmla="*/ 0 h 2612572"/>
                <a:gd name="connsiteX1" fmla="*/ 4516017 w 4516017"/>
                <a:gd name="connsiteY1" fmla="*/ 0 h 2612572"/>
                <a:gd name="connsiteX2" fmla="*/ 4516017 w 4516017"/>
                <a:gd name="connsiteY2" fmla="*/ 2612572 h 2612572"/>
                <a:gd name="connsiteX3" fmla="*/ 0 w 4516017"/>
                <a:gd name="connsiteY3" fmla="*/ 2612572 h 2612572"/>
                <a:gd name="connsiteX4" fmla="*/ 0 w 4516017"/>
                <a:gd name="connsiteY4" fmla="*/ 0 h 2612572"/>
                <a:gd name="connsiteX0" fmla="*/ 0 w 4516017"/>
                <a:gd name="connsiteY0" fmla="*/ 37322 h 2649894"/>
                <a:gd name="connsiteX1" fmla="*/ 3638940 w 4516017"/>
                <a:gd name="connsiteY1" fmla="*/ 0 h 2649894"/>
                <a:gd name="connsiteX2" fmla="*/ 4516017 w 4516017"/>
                <a:gd name="connsiteY2" fmla="*/ 2649894 h 2649894"/>
                <a:gd name="connsiteX3" fmla="*/ 0 w 4516017"/>
                <a:gd name="connsiteY3" fmla="*/ 2649894 h 2649894"/>
                <a:gd name="connsiteX4" fmla="*/ 0 w 4516017"/>
                <a:gd name="connsiteY4" fmla="*/ 37322 h 2649894"/>
                <a:gd name="connsiteX0" fmla="*/ 0 w 4453264"/>
                <a:gd name="connsiteY0" fmla="*/ 37322 h 2649894"/>
                <a:gd name="connsiteX1" fmla="*/ 3638940 w 4453264"/>
                <a:gd name="connsiteY1" fmla="*/ 0 h 2649894"/>
                <a:gd name="connsiteX2" fmla="*/ 4453264 w 4453264"/>
                <a:gd name="connsiteY2" fmla="*/ 1457588 h 2649894"/>
                <a:gd name="connsiteX3" fmla="*/ 0 w 4453264"/>
                <a:gd name="connsiteY3" fmla="*/ 2649894 h 2649894"/>
                <a:gd name="connsiteX4" fmla="*/ 0 w 4453264"/>
                <a:gd name="connsiteY4" fmla="*/ 37322 h 2649894"/>
                <a:gd name="connsiteX0" fmla="*/ 0 w 4453264"/>
                <a:gd name="connsiteY0" fmla="*/ 0 h 2612572"/>
                <a:gd name="connsiteX1" fmla="*/ 3576188 w 4453264"/>
                <a:gd name="connsiteY1" fmla="*/ 25431 h 2612572"/>
                <a:gd name="connsiteX2" fmla="*/ 4453264 w 4453264"/>
                <a:gd name="connsiteY2" fmla="*/ 1420266 h 2612572"/>
                <a:gd name="connsiteX3" fmla="*/ 0 w 4453264"/>
                <a:gd name="connsiteY3" fmla="*/ 2612572 h 2612572"/>
                <a:gd name="connsiteX4" fmla="*/ 0 w 4453264"/>
                <a:gd name="connsiteY4" fmla="*/ 0 h 2612572"/>
                <a:gd name="connsiteX0" fmla="*/ 0 w 4471193"/>
                <a:gd name="connsiteY0" fmla="*/ 0 h 2612572"/>
                <a:gd name="connsiteX1" fmla="*/ 3576188 w 4471193"/>
                <a:gd name="connsiteY1" fmla="*/ 25431 h 2612572"/>
                <a:gd name="connsiteX2" fmla="*/ 4471193 w 4471193"/>
                <a:gd name="connsiteY2" fmla="*/ 1007890 h 2612572"/>
                <a:gd name="connsiteX3" fmla="*/ 0 w 4471193"/>
                <a:gd name="connsiteY3" fmla="*/ 2612572 h 2612572"/>
                <a:gd name="connsiteX4" fmla="*/ 0 w 4471193"/>
                <a:gd name="connsiteY4" fmla="*/ 0 h 2612572"/>
                <a:gd name="connsiteX0" fmla="*/ 0 w 4471193"/>
                <a:gd name="connsiteY0" fmla="*/ 0 h 2612572"/>
                <a:gd name="connsiteX1" fmla="*/ 3637873 w 4471193"/>
                <a:gd name="connsiteY1" fmla="*/ 94374 h 2612572"/>
                <a:gd name="connsiteX2" fmla="*/ 4471193 w 4471193"/>
                <a:gd name="connsiteY2" fmla="*/ 1007890 h 2612572"/>
                <a:gd name="connsiteX3" fmla="*/ 0 w 4471193"/>
                <a:gd name="connsiteY3" fmla="*/ 2612572 h 2612572"/>
                <a:gd name="connsiteX4" fmla="*/ 0 w 4471193"/>
                <a:gd name="connsiteY4" fmla="*/ 0 h 2612572"/>
                <a:gd name="connsiteX0" fmla="*/ 0 w 4394993"/>
                <a:gd name="connsiteY0" fmla="*/ 0 h 2612572"/>
                <a:gd name="connsiteX1" fmla="*/ 3637873 w 4394993"/>
                <a:gd name="connsiteY1" fmla="*/ 94374 h 2612572"/>
                <a:gd name="connsiteX2" fmla="*/ 4394993 w 4394993"/>
                <a:gd name="connsiteY2" fmla="*/ 913547 h 2612572"/>
                <a:gd name="connsiteX3" fmla="*/ 0 w 4394993"/>
                <a:gd name="connsiteY3" fmla="*/ 2612572 h 2612572"/>
                <a:gd name="connsiteX4" fmla="*/ 0 w 4394993"/>
                <a:gd name="connsiteY4" fmla="*/ 0 h 2612572"/>
                <a:gd name="connsiteX0" fmla="*/ 0 w 4394993"/>
                <a:gd name="connsiteY0" fmla="*/ 0 h 2612572"/>
                <a:gd name="connsiteX1" fmla="*/ 3645131 w 4394993"/>
                <a:gd name="connsiteY1" fmla="*/ 94374 h 2612572"/>
                <a:gd name="connsiteX2" fmla="*/ 4394993 w 4394993"/>
                <a:gd name="connsiteY2" fmla="*/ 913547 h 2612572"/>
                <a:gd name="connsiteX3" fmla="*/ 0 w 4394993"/>
                <a:gd name="connsiteY3" fmla="*/ 2612572 h 2612572"/>
                <a:gd name="connsiteX4" fmla="*/ 0 w 4394993"/>
                <a:gd name="connsiteY4" fmla="*/ 0 h 2612572"/>
                <a:gd name="connsiteX0" fmla="*/ 0 w 4394993"/>
                <a:gd name="connsiteY0" fmla="*/ 0 h 2612572"/>
                <a:gd name="connsiteX1" fmla="*/ 2698102 w 4394993"/>
                <a:gd name="connsiteY1" fmla="*/ 71535 h 2612572"/>
                <a:gd name="connsiteX2" fmla="*/ 3645131 w 4394993"/>
                <a:gd name="connsiteY2" fmla="*/ 94374 h 2612572"/>
                <a:gd name="connsiteX3" fmla="*/ 4394993 w 4394993"/>
                <a:gd name="connsiteY3" fmla="*/ 913547 h 2612572"/>
                <a:gd name="connsiteX4" fmla="*/ 0 w 4394993"/>
                <a:gd name="connsiteY4" fmla="*/ 2612572 h 2612572"/>
                <a:gd name="connsiteX5" fmla="*/ 0 w 4394993"/>
                <a:gd name="connsiteY5" fmla="*/ 0 h 2612572"/>
                <a:gd name="connsiteX0" fmla="*/ 0 w 4394993"/>
                <a:gd name="connsiteY0" fmla="*/ 0 h 2612572"/>
                <a:gd name="connsiteX1" fmla="*/ 3158930 w 4394993"/>
                <a:gd name="connsiteY1" fmla="*/ 60650 h 2612572"/>
                <a:gd name="connsiteX2" fmla="*/ 3645131 w 4394993"/>
                <a:gd name="connsiteY2" fmla="*/ 94374 h 2612572"/>
                <a:gd name="connsiteX3" fmla="*/ 4394993 w 4394993"/>
                <a:gd name="connsiteY3" fmla="*/ 913547 h 2612572"/>
                <a:gd name="connsiteX4" fmla="*/ 0 w 4394993"/>
                <a:gd name="connsiteY4" fmla="*/ 2612572 h 2612572"/>
                <a:gd name="connsiteX5" fmla="*/ 0 w 4394993"/>
                <a:gd name="connsiteY5" fmla="*/ 0 h 2612572"/>
                <a:gd name="connsiteX0" fmla="*/ 0 w 4394993"/>
                <a:gd name="connsiteY0" fmla="*/ 0 h 2612572"/>
                <a:gd name="connsiteX1" fmla="*/ 2306217 w 4394993"/>
                <a:gd name="connsiteY1" fmla="*/ 46135 h 2612572"/>
                <a:gd name="connsiteX2" fmla="*/ 3158930 w 4394993"/>
                <a:gd name="connsiteY2" fmla="*/ 60650 h 2612572"/>
                <a:gd name="connsiteX3" fmla="*/ 3645131 w 4394993"/>
                <a:gd name="connsiteY3" fmla="*/ 94374 h 2612572"/>
                <a:gd name="connsiteX4" fmla="*/ 4394993 w 4394993"/>
                <a:gd name="connsiteY4" fmla="*/ 913547 h 2612572"/>
                <a:gd name="connsiteX5" fmla="*/ 0 w 4394993"/>
                <a:gd name="connsiteY5" fmla="*/ 2612572 h 2612572"/>
                <a:gd name="connsiteX6" fmla="*/ 0 w 4394993"/>
                <a:gd name="connsiteY6" fmla="*/ 0 h 2612572"/>
                <a:gd name="connsiteX0" fmla="*/ 0 w 4394993"/>
                <a:gd name="connsiteY0" fmla="*/ 0 h 2612572"/>
                <a:gd name="connsiteX1" fmla="*/ 2679960 w 4394993"/>
                <a:gd name="connsiteY1" fmla="*/ 292878 h 2612572"/>
                <a:gd name="connsiteX2" fmla="*/ 3158930 w 4394993"/>
                <a:gd name="connsiteY2" fmla="*/ 60650 h 2612572"/>
                <a:gd name="connsiteX3" fmla="*/ 3645131 w 4394993"/>
                <a:gd name="connsiteY3" fmla="*/ 94374 h 2612572"/>
                <a:gd name="connsiteX4" fmla="*/ 4394993 w 4394993"/>
                <a:gd name="connsiteY4" fmla="*/ 913547 h 2612572"/>
                <a:gd name="connsiteX5" fmla="*/ 0 w 4394993"/>
                <a:gd name="connsiteY5" fmla="*/ 2612572 h 2612572"/>
                <a:gd name="connsiteX6" fmla="*/ 0 w 4394993"/>
                <a:gd name="connsiteY6" fmla="*/ 0 h 2612572"/>
                <a:gd name="connsiteX0" fmla="*/ 0 w 4394993"/>
                <a:gd name="connsiteY0" fmla="*/ 0 h 2612572"/>
                <a:gd name="connsiteX1" fmla="*/ 2679960 w 4394993"/>
                <a:gd name="connsiteY1" fmla="*/ 292878 h 2612572"/>
                <a:gd name="connsiteX2" fmla="*/ 3158930 w 4394993"/>
                <a:gd name="connsiteY2" fmla="*/ 60650 h 2612572"/>
                <a:gd name="connsiteX3" fmla="*/ 3645131 w 4394993"/>
                <a:gd name="connsiteY3" fmla="*/ 94374 h 2612572"/>
                <a:gd name="connsiteX4" fmla="*/ 4394993 w 4394993"/>
                <a:gd name="connsiteY4" fmla="*/ 913547 h 2612572"/>
                <a:gd name="connsiteX5" fmla="*/ 0 w 4394993"/>
                <a:gd name="connsiteY5" fmla="*/ 2612572 h 2612572"/>
                <a:gd name="connsiteX6" fmla="*/ 0 w 4394993"/>
                <a:gd name="connsiteY6" fmla="*/ 0 h 2612572"/>
                <a:gd name="connsiteX0" fmla="*/ 0 w 4394993"/>
                <a:gd name="connsiteY0" fmla="*/ 9251 h 2621823"/>
                <a:gd name="connsiteX1" fmla="*/ 2679960 w 4394993"/>
                <a:gd name="connsiteY1" fmla="*/ 302129 h 2621823"/>
                <a:gd name="connsiteX2" fmla="*/ 3158930 w 4394993"/>
                <a:gd name="connsiteY2" fmla="*/ 69901 h 2621823"/>
                <a:gd name="connsiteX3" fmla="*/ 3645131 w 4394993"/>
                <a:gd name="connsiteY3" fmla="*/ 103625 h 2621823"/>
                <a:gd name="connsiteX4" fmla="*/ 4394993 w 4394993"/>
                <a:gd name="connsiteY4" fmla="*/ 922798 h 2621823"/>
                <a:gd name="connsiteX5" fmla="*/ 0 w 4394993"/>
                <a:gd name="connsiteY5" fmla="*/ 2621823 h 2621823"/>
                <a:gd name="connsiteX6" fmla="*/ 0 w 4394993"/>
                <a:gd name="connsiteY6" fmla="*/ 9251 h 2621823"/>
                <a:gd name="connsiteX0" fmla="*/ 0 w 4394993"/>
                <a:gd name="connsiteY0" fmla="*/ 21038 h 2633610"/>
                <a:gd name="connsiteX1" fmla="*/ 2679960 w 4394993"/>
                <a:gd name="connsiteY1" fmla="*/ 313916 h 2633610"/>
                <a:gd name="connsiteX2" fmla="*/ 3158930 w 4394993"/>
                <a:gd name="connsiteY2" fmla="*/ 81688 h 2633610"/>
                <a:gd name="connsiteX3" fmla="*/ 3645131 w 4394993"/>
                <a:gd name="connsiteY3" fmla="*/ 115412 h 2633610"/>
                <a:gd name="connsiteX4" fmla="*/ 4394993 w 4394993"/>
                <a:gd name="connsiteY4" fmla="*/ 934585 h 2633610"/>
                <a:gd name="connsiteX5" fmla="*/ 0 w 4394993"/>
                <a:gd name="connsiteY5" fmla="*/ 2633610 h 2633610"/>
                <a:gd name="connsiteX6" fmla="*/ 0 w 4394993"/>
                <a:gd name="connsiteY6" fmla="*/ 21038 h 2633610"/>
                <a:gd name="connsiteX0" fmla="*/ 0 w 4394993"/>
                <a:gd name="connsiteY0" fmla="*/ 16214 h 2628786"/>
                <a:gd name="connsiteX1" fmla="*/ 2679960 w 4394993"/>
                <a:gd name="connsiteY1" fmla="*/ 309092 h 2628786"/>
                <a:gd name="connsiteX2" fmla="*/ 3158930 w 4394993"/>
                <a:gd name="connsiteY2" fmla="*/ 76864 h 2628786"/>
                <a:gd name="connsiteX3" fmla="*/ 3645131 w 4394993"/>
                <a:gd name="connsiteY3" fmla="*/ 110588 h 2628786"/>
                <a:gd name="connsiteX4" fmla="*/ 4394993 w 4394993"/>
                <a:gd name="connsiteY4" fmla="*/ 929761 h 2628786"/>
                <a:gd name="connsiteX5" fmla="*/ 0 w 4394993"/>
                <a:gd name="connsiteY5" fmla="*/ 2628786 h 2628786"/>
                <a:gd name="connsiteX6" fmla="*/ 0 w 4394993"/>
                <a:gd name="connsiteY6" fmla="*/ 16214 h 2628786"/>
                <a:gd name="connsiteX0" fmla="*/ 0 w 4394993"/>
                <a:gd name="connsiteY0" fmla="*/ 21436 h 2634008"/>
                <a:gd name="connsiteX1" fmla="*/ 2679960 w 4394993"/>
                <a:gd name="connsiteY1" fmla="*/ 314314 h 2634008"/>
                <a:gd name="connsiteX2" fmla="*/ 3148045 w 4394993"/>
                <a:gd name="connsiteY2" fmla="*/ 74829 h 2634008"/>
                <a:gd name="connsiteX3" fmla="*/ 3645131 w 4394993"/>
                <a:gd name="connsiteY3" fmla="*/ 115810 h 2634008"/>
                <a:gd name="connsiteX4" fmla="*/ 4394993 w 4394993"/>
                <a:gd name="connsiteY4" fmla="*/ 934983 h 2634008"/>
                <a:gd name="connsiteX5" fmla="*/ 0 w 4394993"/>
                <a:gd name="connsiteY5" fmla="*/ 2634008 h 2634008"/>
                <a:gd name="connsiteX6" fmla="*/ 0 w 4394993"/>
                <a:gd name="connsiteY6" fmla="*/ 21436 h 2634008"/>
                <a:gd name="connsiteX0" fmla="*/ 0 w 4394993"/>
                <a:gd name="connsiteY0" fmla="*/ 21436 h 2634008"/>
                <a:gd name="connsiteX1" fmla="*/ 2679960 w 4394993"/>
                <a:gd name="connsiteY1" fmla="*/ 314314 h 2634008"/>
                <a:gd name="connsiteX2" fmla="*/ 3148045 w 4394993"/>
                <a:gd name="connsiteY2" fmla="*/ 74829 h 2634008"/>
                <a:gd name="connsiteX3" fmla="*/ 3645131 w 4394993"/>
                <a:gd name="connsiteY3" fmla="*/ 115810 h 2634008"/>
                <a:gd name="connsiteX4" fmla="*/ 4394993 w 4394993"/>
                <a:gd name="connsiteY4" fmla="*/ 934983 h 2634008"/>
                <a:gd name="connsiteX5" fmla="*/ 0 w 4394993"/>
                <a:gd name="connsiteY5" fmla="*/ 2634008 h 2634008"/>
                <a:gd name="connsiteX6" fmla="*/ 0 w 4394993"/>
                <a:gd name="connsiteY6" fmla="*/ 21436 h 2634008"/>
                <a:gd name="connsiteX0" fmla="*/ 0 w 4394993"/>
                <a:gd name="connsiteY0" fmla="*/ 18213 h 2630785"/>
                <a:gd name="connsiteX1" fmla="*/ 2679960 w 4394993"/>
                <a:gd name="connsiteY1" fmla="*/ 311091 h 2630785"/>
                <a:gd name="connsiteX2" fmla="*/ 3148045 w 4394993"/>
                <a:gd name="connsiteY2" fmla="*/ 71606 h 2630785"/>
                <a:gd name="connsiteX3" fmla="*/ 3645131 w 4394993"/>
                <a:gd name="connsiteY3" fmla="*/ 112587 h 2630785"/>
                <a:gd name="connsiteX4" fmla="*/ 4394993 w 4394993"/>
                <a:gd name="connsiteY4" fmla="*/ 931760 h 2630785"/>
                <a:gd name="connsiteX5" fmla="*/ 0 w 4394993"/>
                <a:gd name="connsiteY5" fmla="*/ 2630785 h 2630785"/>
                <a:gd name="connsiteX6" fmla="*/ 0 w 4394993"/>
                <a:gd name="connsiteY6" fmla="*/ 18213 h 2630785"/>
                <a:gd name="connsiteX0" fmla="*/ 0 w 4394993"/>
                <a:gd name="connsiteY0" fmla="*/ 29361 h 2641933"/>
                <a:gd name="connsiteX1" fmla="*/ 2679960 w 4394993"/>
                <a:gd name="connsiteY1" fmla="*/ 322239 h 2641933"/>
                <a:gd name="connsiteX2" fmla="*/ 3148045 w 4394993"/>
                <a:gd name="connsiteY2" fmla="*/ 82754 h 2641933"/>
                <a:gd name="connsiteX3" fmla="*/ 3645131 w 4394993"/>
                <a:gd name="connsiteY3" fmla="*/ 123735 h 2641933"/>
                <a:gd name="connsiteX4" fmla="*/ 4394993 w 4394993"/>
                <a:gd name="connsiteY4" fmla="*/ 942908 h 2641933"/>
                <a:gd name="connsiteX5" fmla="*/ 0 w 4394993"/>
                <a:gd name="connsiteY5" fmla="*/ 2641933 h 2641933"/>
                <a:gd name="connsiteX6" fmla="*/ 0 w 4394993"/>
                <a:gd name="connsiteY6" fmla="*/ 29361 h 2641933"/>
                <a:gd name="connsiteX0" fmla="*/ 0 w 4394993"/>
                <a:gd name="connsiteY0" fmla="*/ 21450 h 2634022"/>
                <a:gd name="connsiteX1" fmla="*/ 2679960 w 4394993"/>
                <a:gd name="connsiteY1" fmla="*/ 314328 h 2634022"/>
                <a:gd name="connsiteX2" fmla="*/ 3148045 w 4394993"/>
                <a:gd name="connsiteY2" fmla="*/ 74843 h 2634022"/>
                <a:gd name="connsiteX3" fmla="*/ 3670531 w 4394993"/>
                <a:gd name="connsiteY3" fmla="*/ 141224 h 2634022"/>
                <a:gd name="connsiteX4" fmla="*/ 4394993 w 4394993"/>
                <a:gd name="connsiteY4" fmla="*/ 934997 h 2634022"/>
                <a:gd name="connsiteX5" fmla="*/ 0 w 4394993"/>
                <a:gd name="connsiteY5" fmla="*/ 2634022 h 2634022"/>
                <a:gd name="connsiteX6" fmla="*/ 0 w 4394993"/>
                <a:gd name="connsiteY6" fmla="*/ 21450 h 2634022"/>
                <a:gd name="connsiteX0" fmla="*/ 0 w 4394993"/>
                <a:gd name="connsiteY0" fmla="*/ 21450 h 2634022"/>
                <a:gd name="connsiteX1" fmla="*/ 2679960 w 4394993"/>
                <a:gd name="connsiteY1" fmla="*/ 314328 h 2634022"/>
                <a:gd name="connsiteX2" fmla="*/ 3148045 w 4394993"/>
                <a:gd name="connsiteY2" fmla="*/ 74843 h 2634022"/>
                <a:gd name="connsiteX3" fmla="*/ 3670531 w 4394993"/>
                <a:gd name="connsiteY3" fmla="*/ 141224 h 2634022"/>
                <a:gd name="connsiteX4" fmla="*/ 4394993 w 4394993"/>
                <a:gd name="connsiteY4" fmla="*/ 934997 h 2634022"/>
                <a:gd name="connsiteX5" fmla="*/ 3859245 w 4394993"/>
                <a:gd name="connsiteY5" fmla="*/ 1130756 h 2634022"/>
                <a:gd name="connsiteX6" fmla="*/ 0 w 4394993"/>
                <a:gd name="connsiteY6" fmla="*/ 2634022 h 2634022"/>
                <a:gd name="connsiteX7" fmla="*/ 0 w 4394993"/>
                <a:gd name="connsiteY7" fmla="*/ 21450 h 2634022"/>
                <a:gd name="connsiteX0" fmla="*/ 0 w 4465217"/>
                <a:gd name="connsiteY0" fmla="*/ 21450 h 2634022"/>
                <a:gd name="connsiteX1" fmla="*/ 2679960 w 4465217"/>
                <a:gd name="connsiteY1" fmla="*/ 314328 h 2634022"/>
                <a:gd name="connsiteX2" fmla="*/ 3148045 w 4465217"/>
                <a:gd name="connsiteY2" fmla="*/ 74843 h 2634022"/>
                <a:gd name="connsiteX3" fmla="*/ 3670531 w 4465217"/>
                <a:gd name="connsiteY3" fmla="*/ 141224 h 2634022"/>
                <a:gd name="connsiteX4" fmla="*/ 4394993 w 4465217"/>
                <a:gd name="connsiteY4" fmla="*/ 934997 h 2634022"/>
                <a:gd name="connsiteX5" fmla="*/ 4465217 w 4465217"/>
                <a:gd name="connsiteY5" fmla="*/ 1348470 h 2634022"/>
                <a:gd name="connsiteX6" fmla="*/ 0 w 4465217"/>
                <a:gd name="connsiteY6" fmla="*/ 2634022 h 2634022"/>
                <a:gd name="connsiteX7" fmla="*/ 0 w 4465217"/>
                <a:gd name="connsiteY7" fmla="*/ 21450 h 2634022"/>
                <a:gd name="connsiteX0" fmla="*/ 0 w 4465217"/>
                <a:gd name="connsiteY0" fmla="*/ 21450 h 2634022"/>
                <a:gd name="connsiteX1" fmla="*/ 2679960 w 4465217"/>
                <a:gd name="connsiteY1" fmla="*/ 314328 h 2634022"/>
                <a:gd name="connsiteX2" fmla="*/ 3148045 w 4465217"/>
                <a:gd name="connsiteY2" fmla="*/ 74843 h 2634022"/>
                <a:gd name="connsiteX3" fmla="*/ 3670531 w 4465217"/>
                <a:gd name="connsiteY3" fmla="*/ 141224 h 2634022"/>
                <a:gd name="connsiteX4" fmla="*/ 4394993 w 4465217"/>
                <a:gd name="connsiteY4" fmla="*/ 934997 h 2634022"/>
                <a:gd name="connsiteX5" fmla="*/ 4465217 w 4465217"/>
                <a:gd name="connsiteY5" fmla="*/ 1348470 h 2634022"/>
                <a:gd name="connsiteX6" fmla="*/ 3296817 w 4465217"/>
                <a:gd name="connsiteY6" fmla="*/ 1678671 h 2634022"/>
                <a:gd name="connsiteX7" fmla="*/ 0 w 4465217"/>
                <a:gd name="connsiteY7" fmla="*/ 2634022 h 2634022"/>
                <a:gd name="connsiteX8" fmla="*/ 0 w 4465217"/>
                <a:gd name="connsiteY8" fmla="*/ 21450 h 2634022"/>
                <a:gd name="connsiteX0" fmla="*/ 0 w 4465217"/>
                <a:gd name="connsiteY0" fmla="*/ 21450 h 2634022"/>
                <a:gd name="connsiteX1" fmla="*/ 2679960 w 4465217"/>
                <a:gd name="connsiteY1" fmla="*/ 314328 h 2634022"/>
                <a:gd name="connsiteX2" fmla="*/ 3148045 w 4465217"/>
                <a:gd name="connsiteY2" fmla="*/ 74843 h 2634022"/>
                <a:gd name="connsiteX3" fmla="*/ 3670531 w 4465217"/>
                <a:gd name="connsiteY3" fmla="*/ 141224 h 2634022"/>
                <a:gd name="connsiteX4" fmla="*/ 4394993 w 4465217"/>
                <a:gd name="connsiteY4" fmla="*/ 934997 h 2634022"/>
                <a:gd name="connsiteX5" fmla="*/ 4465217 w 4465217"/>
                <a:gd name="connsiteY5" fmla="*/ 1348470 h 2634022"/>
                <a:gd name="connsiteX6" fmla="*/ 4171303 w 4465217"/>
                <a:gd name="connsiteY6" fmla="*/ 1689557 h 2634022"/>
                <a:gd name="connsiteX7" fmla="*/ 0 w 4465217"/>
                <a:gd name="connsiteY7" fmla="*/ 2634022 h 2634022"/>
                <a:gd name="connsiteX8" fmla="*/ 0 w 4465217"/>
                <a:gd name="connsiteY8" fmla="*/ 21450 h 2634022"/>
                <a:gd name="connsiteX0" fmla="*/ 0 w 4487666"/>
                <a:gd name="connsiteY0" fmla="*/ 21450 h 2634022"/>
                <a:gd name="connsiteX1" fmla="*/ 2679960 w 4487666"/>
                <a:gd name="connsiteY1" fmla="*/ 314328 h 2634022"/>
                <a:gd name="connsiteX2" fmla="*/ 3148045 w 4487666"/>
                <a:gd name="connsiteY2" fmla="*/ 74843 h 2634022"/>
                <a:gd name="connsiteX3" fmla="*/ 3670531 w 4487666"/>
                <a:gd name="connsiteY3" fmla="*/ 141224 h 2634022"/>
                <a:gd name="connsiteX4" fmla="*/ 4394993 w 4487666"/>
                <a:gd name="connsiteY4" fmla="*/ 934997 h 2634022"/>
                <a:gd name="connsiteX5" fmla="*/ 4465217 w 4487666"/>
                <a:gd name="connsiteY5" fmla="*/ 1348470 h 2634022"/>
                <a:gd name="connsiteX6" fmla="*/ 4171303 w 4487666"/>
                <a:gd name="connsiteY6" fmla="*/ 1689557 h 2634022"/>
                <a:gd name="connsiteX7" fmla="*/ 0 w 4487666"/>
                <a:gd name="connsiteY7" fmla="*/ 2634022 h 2634022"/>
                <a:gd name="connsiteX8" fmla="*/ 0 w 4487666"/>
                <a:gd name="connsiteY8" fmla="*/ 21450 h 2634022"/>
                <a:gd name="connsiteX0" fmla="*/ 0 w 4494029"/>
                <a:gd name="connsiteY0" fmla="*/ 21450 h 2634022"/>
                <a:gd name="connsiteX1" fmla="*/ 2679960 w 4494029"/>
                <a:gd name="connsiteY1" fmla="*/ 314328 h 2634022"/>
                <a:gd name="connsiteX2" fmla="*/ 3148045 w 4494029"/>
                <a:gd name="connsiteY2" fmla="*/ 74843 h 2634022"/>
                <a:gd name="connsiteX3" fmla="*/ 3670531 w 4494029"/>
                <a:gd name="connsiteY3" fmla="*/ 141224 h 2634022"/>
                <a:gd name="connsiteX4" fmla="*/ 4394993 w 4494029"/>
                <a:gd name="connsiteY4" fmla="*/ 934997 h 2634022"/>
                <a:gd name="connsiteX5" fmla="*/ 4465217 w 4494029"/>
                <a:gd name="connsiteY5" fmla="*/ 1348470 h 2634022"/>
                <a:gd name="connsiteX6" fmla="*/ 4171303 w 4494029"/>
                <a:gd name="connsiteY6" fmla="*/ 1689557 h 2634022"/>
                <a:gd name="connsiteX7" fmla="*/ 0 w 4494029"/>
                <a:gd name="connsiteY7" fmla="*/ 2634022 h 2634022"/>
                <a:gd name="connsiteX8" fmla="*/ 0 w 4494029"/>
                <a:gd name="connsiteY8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71303 w 4497210"/>
                <a:gd name="connsiteY6" fmla="*/ 1689557 h 2634022"/>
                <a:gd name="connsiteX7" fmla="*/ 0 w 4497210"/>
                <a:gd name="connsiteY7" fmla="*/ 2634022 h 2634022"/>
                <a:gd name="connsiteX8" fmla="*/ 0 w 4497210"/>
                <a:gd name="connsiteY8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71303 w 4497210"/>
                <a:gd name="connsiteY6" fmla="*/ 1689557 h 2634022"/>
                <a:gd name="connsiteX7" fmla="*/ 0 w 4497210"/>
                <a:gd name="connsiteY7" fmla="*/ 2634022 h 2634022"/>
                <a:gd name="connsiteX8" fmla="*/ 0 w 4497210"/>
                <a:gd name="connsiteY8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71303 w 4497210"/>
                <a:gd name="connsiteY6" fmla="*/ 1689557 h 2634022"/>
                <a:gd name="connsiteX7" fmla="*/ 2843243 w 4497210"/>
                <a:gd name="connsiteY7" fmla="*/ 1987099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71303 w 4497210"/>
                <a:gd name="connsiteY6" fmla="*/ 1689557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96703 w 4497210"/>
                <a:gd name="connsiteY6" fmla="*/ 1700443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96703 w 4497210"/>
                <a:gd name="connsiteY6" fmla="*/ 1700443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96703 w 4497210"/>
                <a:gd name="connsiteY6" fmla="*/ 1700443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38646 w 4497210"/>
                <a:gd name="connsiteY6" fmla="*/ 1714957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38646 w 4497210"/>
                <a:gd name="connsiteY6" fmla="*/ 1714957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38646 w 4497210"/>
                <a:gd name="connsiteY6" fmla="*/ 1714957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5904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60418 w 4497210"/>
                <a:gd name="connsiteY6" fmla="*/ 1722214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0 w 4497210"/>
                <a:gd name="connsiteY8" fmla="*/ 2634022 h 2634022"/>
                <a:gd name="connsiteX9" fmla="*/ 0 w 4497210"/>
                <a:gd name="connsiteY9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514529 w 4497210"/>
                <a:gd name="connsiteY8" fmla="*/ 2357213 h 2634022"/>
                <a:gd name="connsiteX9" fmla="*/ 0 w 4497210"/>
                <a:gd name="connsiteY9" fmla="*/ 2634022 h 2634022"/>
                <a:gd name="connsiteX10" fmla="*/ 0 w 4497210"/>
                <a:gd name="connsiteY10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0 w 4497210"/>
                <a:gd name="connsiteY9" fmla="*/ 2634022 h 2634022"/>
                <a:gd name="connsiteX10" fmla="*/ 0 w 4497210"/>
                <a:gd name="connsiteY10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0 w 4497210"/>
                <a:gd name="connsiteY9" fmla="*/ 2634022 h 2634022"/>
                <a:gd name="connsiteX10" fmla="*/ 0 w 4497210"/>
                <a:gd name="connsiteY10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0 w 4497210"/>
                <a:gd name="connsiteY9" fmla="*/ 2634022 h 2634022"/>
                <a:gd name="connsiteX10" fmla="*/ 0 w 4497210"/>
                <a:gd name="connsiteY10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429441 w 4497210"/>
                <a:gd name="connsiteY9" fmla="*/ 2481746 h 2634022"/>
                <a:gd name="connsiteX10" fmla="*/ 0 w 4497210"/>
                <a:gd name="connsiteY10" fmla="*/ 2634022 h 2634022"/>
                <a:gd name="connsiteX11" fmla="*/ 0 w 4497210"/>
                <a:gd name="connsiteY11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24513 w 4497210"/>
                <a:gd name="connsiteY9" fmla="*/ 1396658 h 2634022"/>
                <a:gd name="connsiteX10" fmla="*/ 0 w 4497210"/>
                <a:gd name="connsiteY10" fmla="*/ 2634022 h 2634022"/>
                <a:gd name="connsiteX11" fmla="*/ 0 w 4497210"/>
                <a:gd name="connsiteY11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0 w 4497210"/>
                <a:gd name="connsiteY10" fmla="*/ 2634022 h 2634022"/>
                <a:gd name="connsiteX11" fmla="*/ 0 w 4497210"/>
                <a:gd name="connsiteY11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1824413 w 4497210"/>
                <a:gd name="connsiteY10" fmla="*/ 1763942 h 2634022"/>
                <a:gd name="connsiteX11" fmla="*/ 0 w 4497210"/>
                <a:gd name="connsiteY11" fmla="*/ 2634022 h 2634022"/>
                <a:gd name="connsiteX12" fmla="*/ 0 w 4497210"/>
                <a:gd name="connsiteY12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0 w 4497210"/>
                <a:gd name="connsiteY11" fmla="*/ 2634022 h 2634022"/>
                <a:gd name="connsiteX12" fmla="*/ 0 w 4497210"/>
                <a:gd name="connsiteY12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0 w 4497210"/>
                <a:gd name="connsiteY11" fmla="*/ 2634022 h 2634022"/>
                <a:gd name="connsiteX12" fmla="*/ 0 w 4497210"/>
                <a:gd name="connsiteY12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0 w 4497210"/>
                <a:gd name="connsiteY11" fmla="*/ 2634022 h 2634022"/>
                <a:gd name="connsiteX12" fmla="*/ 0 w 4497210"/>
                <a:gd name="connsiteY12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371785 w 4497210"/>
                <a:gd name="connsiteY11" fmla="*/ 1777658 h 2634022"/>
                <a:gd name="connsiteX12" fmla="*/ 0 w 4497210"/>
                <a:gd name="connsiteY12" fmla="*/ 2634022 h 2634022"/>
                <a:gd name="connsiteX13" fmla="*/ 0 w 4497210"/>
                <a:gd name="connsiteY13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422077 w 4497210"/>
                <a:gd name="connsiteY11" fmla="*/ 1261022 h 2634022"/>
                <a:gd name="connsiteX12" fmla="*/ 0 w 4497210"/>
                <a:gd name="connsiteY12" fmla="*/ 2634022 h 2634022"/>
                <a:gd name="connsiteX13" fmla="*/ 0 w 4497210"/>
                <a:gd name="connsiteY13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422077 w 4497210"/>
                <a:gd name="connsiteY11" fmla="*/ 1261022 h 2634022"/>
                <a:gd name="connsiteX12" fmla="*/ 0 w 4497210"/>
                <a:gd name="connsiteY12" fmla="*/ 2634022 h 2634022"/>
                <a:gd name="connsiteX13" fmla="*/ 0 w 4497210"/>
                <a:gd name="connsiteY13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422077 w 4497210"/>
                <a:gd name="connsiteY11" fmla="*/ 1261022 h 2634022"/>
                <a:gd name="connsiteX12" fmla="*/ 0 w 4497210"/>
                <a:gd name="connsiteY12" fmla="*/ 2634022 h 2634022"/>
                <a:gd name="connsiteX13" fmla="*/ 0 w 4497210"/>
                <a:gd name="connsiteY13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10113 w 4497210"/>
                <a:gd name="connsiteY11" fmla="*/ 122444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422077 w 4497210"/>
                <a:gd name="connsiteY12" fmla="*/ 1261022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380929 w 4497210"/>
                <a:gd name="connsiteY12" fmla="*/ 1288454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634022"/>
                <a:gd name="connsiteX1" fmla="*/ 2679960 w 4497210"/>
                <a:gd name="connsiteY1" fmla="*/ 314328 h 2634022"/>
                <a:gd name="connsiteX2" fmla="*/ 3148045 w 4497210"/>
                <a:gd name="connsiteY2" fmla="*/ 74843 h 2634022"/>
                <a:gd name="connsiteX3" fmla="*/ 3670531 w 4497210"/>
                <a:gd name="connsiteY3" fmla="*/ 141224 h 2634022"/>
                <a:gd name="connsiteX4" fmla="*/ 4394993 w 4497210"/>
                <a:gd name="connsiteY4" fmla="*/ 934997 h 2634022"/>
                <a:gd name="connsiteX5" fmla="*/ 4465217 w 4497210"/>
                <a:gd name="connsiteY5" fmla="*/ 1348470 h 2634022"/>
                <a:gd name="connsiteX6" fmla="*/ 4149532 w 4497210"/>
                <a:gd name="connsiteY6" fmla="*/ 1725842 h 2634022"/>
                <a:gd name="connsiteX7" fmla="*/ 3949958 w 4497210"/>
                <a:gd name="connsiteY7" fmla="*/ 2324556 h 2634022"/>
                <a:gd name="connsiteX8" fmla="*/ 3663300 w 4497210"/>
                <a:gd name="connsiteY8" fmla="*/ 2408013 h 2634022"/>
                <a:gd name="connsiteX9" fmla="*/ 2606225 w 4497210"/>
                <a:gd name="connsiteY9" fmla="*/ 1401230 h 2634022"/>
                <a:gd name="connsiteX10" fmla="*/ 2139881 w 4497210"/>
                <a:gd name="connsiteY10" fmla="*/ 1302170 h 2634022"/>
                <a:gd name="connsiteX11" fmla="*/ 1732973 w 4497210"/>
                <a:gd name="connsiteY11" fmla="*/ 1247306 h 2634022"/>
                <a:gd name="connsiteX12" fmla="*/ 1380929 w 4497210"/>
                <a:gd name="connsiteY12" fmla="*/ 1288454 h 2634022"/>
                <a:gd name="connsiteX13" fmla="*/ 0 w 4497210"/>
                <a:gd name="connsiteY13" fmla="*/ 2634022 h 2634022"/>
                <a:gd name="connsiteX14" fmla="*/ 0 w 4497210"/>
                <a:gd name="connsiteY14" fmla="*/ 21450 h 2634022"/>
                <a:gd name="connsiteX0" fmla="*/ 0 w 4497210"/>
                <a:gd name="connsiteY0" fmla="*/ 21450 h 2435306"/>
                <a:gd name="connsiteX1" fmla="*/ 2679960 w 4497210"/>
                <a:gd name="connsiteY1" fmla="*/ 314328 h 2435306"/>
                <a:gd name="connsiteX2" fmla="*/ 3148045 w 4497210"/>
                <a:gd name="connsiteY2" fmla="*/ 74843 h 2435306"/>
                <a:gd name="connsiteX3" fmla="*/ 3670531 w 4497210"/>
                <a:gd name="connsiteY3" fmla="*/ 141224 h 2435306"/>
                <a:gd name="connsiteX4" fmla="*/ 4394993 w 4497210"/>
                <a:gd name="connsiteY4" fmla="*/ 934997 h 2435306"/>
                <a:gd name="connsiteX5" fmla="*/ 4465217 w 4497210"/>
                <a:gd name="connsiteY5" fmla="*/ 1348470 h 2435306"/>
                <a:gd name="connsiteX6" fmla="*/ 4149532 w 4497210"/>
                <a:gd name="connsiteY6" fmla="*/ 1725842 h 2435306"/>
                <a:gd name="connsiteX7" fmla="*/ 3949958 w 4497210"/>
                <a:gd name="connsiteY7" fmla="*/ 2324556 h 2435306"/>
                <a:gd name="connsiteX8" fmla="*/ 3663300 w 4497210"/>
                <a:gd name="connsiteY8" fmla="*/ 2408013 h 2435306"/>
                <a:gd name="connsiteX9" fmla="*/ 2606225 w 4497210"/>
                <a:gd name="connsiteY9" fmla="*/ 1401230 h 2435306"/>
                <a:gd name="connsiteX10" fmla="*/ 2139881 w 4497210"/>
                <a:gd name="connsiteY10" fmla="*/ 1302170 h 2435306"/>
                <a:gd name="connsiteX11" fmla="*/ 1732973 w 4497210"/>
                <a:gd name="connsiteY11" fmla="*/ 1247306 h 2435306"/>
                <a:gd name="connsiteX12" fmla="*/ 1380929 w 4497210"/>
                <a:gd name="connsiteY12" fmla="*/ 1288454 h 2435306"/>
                <a:gd name="connsiteX13" fmla="*/ 438912 w 4497210"/>
                <a:gd name="connsiteY13" fmla="*/ 1833922 h 2435306"/>
                <a:gd name="connsiteX14" fmla="*/ 0 w 4497210"/>
                <a:gd name="connsiteY14" fmla="*/ 21450 h 2435306"/>
                <a:gd name="connsiteX0" fmla="*/ 0 w 4497210"/>
                <a:gd name="connsiteY0" fmla="*/ 21450 h 2435306"/>
                <a:gd name="connsiteX1" fmla="*/ 2679960 w 4497210"/>
                <a:gd name="connsiteY1" fmla="*/ 314328 h 2435306"/>
                <a:gd name="connsiteX2" fmla="*/ 3148045 w 4497210"/>
                <a:gd name="connsiteY2" fmla="*/ 74843 h 2435306"/>
                <a:gd name="connsiteX3" fmla="*/ 3670531 w 4497210"/>
                <a:gd name="connsiteY3" fmla="*/ 141224 h 2435306"/>
                <a:gd name="connsiteX4" fmla="*/ 4394993 w 4497210"/>
                <a:gd name="connsiteY4" fmla="*/ 934997 h 2435306"/>
                <a:gd name="connsiteX5" fmla="*/ 4465217 w 4497210"/>
                <a:gd name="connsiteY5" fmla="*/ 1348470 h 2435306"/>
                <a:gd name="connsiteX6" fmla="*/ 4149532 w 4497210"/>
                <a:gd name="connsiteY6" fmla="*/ 1725842 h 2435306"/>
                <a:gd name="connsiteX7" fmla="*/ 3949958 w 4497210"/>
                <a:gd name="connsiteY7" fmla="*/ 2324556 h 2435306"/>
                <a:gd name="connsiteX8" fmla="*/ 3663300 w 4497210"/>
                <a:gd name="connsiteY8" fmla="*/ 2408013 h 2435306"/>
                <a:gd name="connsiteX9" fmla="*/ 2606225 w 4497210"/>
                <a:gd name="connsiteY9" fmla="*/ 1401230 h 2435306"/>
                <a:gd name="connsiteX10" fmla="*/ 2139881 w 4497210"/>
                <a:gd name="connsiteY10" fmla="*/ 1302170 h 2435306"/>
                <a:gd name="connsiteX11" fmla="*/ 1732973 w 4497210"/>
                <a:gd name="connsiteY11" fmla="*/ 1247306 h 2435306"/>
                <a:gd name="connsiteX12" fmla="*/ 1380929 w 4497210"/>
                <a:gd name="connsiteY12" fmla="*/ 1288454 h 2435306"/>
                <a:gd name="connsiteX13" fmla="*/ 438912 w 4497210"/>
                <a:gd name="connsiteY13" fmla="*/ 1833922 h 2435306"/>
                <a:gd name="connsiteX14" fmla="*/ 0 w 4497210"/>
                <a:gd name="connsiteY14" fmla="*/ 21450 h 2435306"/>
                <a:gd name="connsiteX0" fmla="*/ 0 w 4497210"/>
                <a:gd name="connsiteY0" fmla="*/ 21450 h 2435306"/>
                <a:gd name="connsiteX1" fmla="*/ 2679960 w 4497210"/>
                <a:gd name="connsiteY1" fmla="*/ 314328 h 2435306"/>
                <a:gd name="connsiteX2" fmla="*/ 3148045 w 4497210"/>
                <a:gd name="connsiteY2" fmla="*/ 74843 h 2435306"/>
                <a:gd name="connsiteX3" fmla="*/ 3670531 w 4497210"/>
                <a:gd name="connsiteY3" fmla="*/ 141224 h 2435306"/>
                <a:gd name="connsiteX4" fmla="*/ 4394993 w 4497210"/>
                <a:gd name="connsiteY4" fmla="*/ 934997 h 2435306"/>
                <a:gd name="connsiteX5" fmla="*/ 4465217 w 4497210"/>
                <a:gd name="connsiteY5" fmla="*/ 1348470 h 2435306"/>
                <a:gd name="connsiteX6" fmla="*/ 4149532 w 4497210"/>
                <a:gd name="connsiteY6" fmla="*/ 1725842 h 2435306"/>
                <a:gd name="connsiteX7" fmla="*/ 3949958 w 4497210"/>
                <a:gd name="connsiteY7" fmla="*/ 2324556 h 2435306"/>
                <a:gd name="connsiteX8" fmla="*/ 3663300 w 4497210"/>
                <a:gd name="connsiteY8" fmla="*/ 2408013 h 2435306"/>
                <a:gd name="connsiteX9" fmla="*/ 2606225 w 4497210"/>
                <a:gd name="connsiteY9" fmla="*/ 1401230 h 2435306"/>
                <a:gd name="connsiteX10" fmla="*/ 2139881 w 4497210"/>
                <a:gd name="connsiteY10" fmla="*/ 1302170 h 2435306"/>
                <a:gd name="connsiteX11" fmla="*/ 1732973 w 4497210"/>
                <a:gd name="connsiteY11" fmla="*/ 1247306 h 2435306"/>
                <a:gd name="connsiteX12" fmla="*/ 1380929 w 4497210"/>
                <a:gd name="connsiteY12" fmla="*/ 1288454 h 2435306"/>
                <a:gd name="connsiteX13" fmla="*/ 438912 w 4497210"/>
                <a:gd name="connsiteY13" fmla="*/ 1833922 h 2435306"/>
                <a:gd name="connsiteX14" fmla="*/ 0 w 4497210"/>
                <a:gd name="connsiteY14" fmla="*/ 21450 h 2435306"/>
                <a:gd name="connsiteX0" fmla="*/ 0 w 4497210"/>
                <a:gd name="connsiteY0" fmla="*/ 21450 h 2435306"/>
                <a:gd name="connsiteX1" fmla="*/ 2679960 w 4497210"/>
                <a:gd name="connsiteY1" fmla="*/ 314328 h 2435306"/>
                <a:gd name="connsiteX2" fmla="*/ 3148045 w 4497210"/>
                <a:gd name="connsiteY2" fmla="*/ 74843 h 2435306"/>
                <a:gd name="connsiteX3" fmla="*/ 3670531 w 4497210"/>
                <a:gd name="connsiteY3" fmla="*/ 141224 h 2435306"/>
                <a:gd name="connsiteX4" fmla="*/ 4394993 w 4497210"/>
                <a:gd name="connsiteY4" fmla="*/ 934997 h 2435306"/>
                <a:gd name="connsiteX5" fmla="*/ 4465217 w 4497210"/>
                <a:gd name="connsiteY5" fmla="*/ 1348470 h 2435306"/>
                <a:gd name="connsiteX6" fmla="*/ 4149532 w 4497210"/>
                <a:gd name="connsiteY6" fmla="*/ 1725842 h 2435306"/>
                <a:gd name="connsiteX7" fmla="*/ 3949958 w 4497210"/>
                <a:gd name="connsiteY7" fmla="*/ 2324556 h 2435306"/>
                <a:gd name="connsiteX8" fmla="*/ 3663300 w 4497210"/>
                <a:gd name="connsiteY8" fmla="*/ 2408013 h 2435306"/>
                <a:gd name="connsiteX9" fmla="*/ 2606225 w 4497210"/>
                <a:gd name="connsiteY9" fmla="*/ 1401230 h 2435306"/>
                <a:gd name="connsiteX10" fmla="*/ 2139881 w 4497210"/>
                <a:gd name="connsiteY10" fmla="*/ 1302170 h 2435306"/>
                <a:gd name="connsiteX11" fmla="*/ 1732973 w 4497210"/>
                <a:gd name="connsiteY11" fmla="*/ 1247306 h 2435306"/>
                <a:gd name="connsiteX12" fmla="*/ 1380929 w 4497210"/>
                <a:gd name="connsiteY12" fmla="*/ 1288454 h 2435306"/>
                <a:gd name="connsiteX13" fmla="*/ 438912 w 4497210"/>
                <a:gd name="connsiteY13" fmla="*/ 1833922 h 2435306"/>
                <a:gd name="connsiteX14" fmla="*/ 210497 w 4497210"/>
                <a:gd name="connsiteY14" fmla="*/ 904406 h 2435306"/>
                <a:gd name="connsiteX15" fmla="*/ 0 w 4497210"/>
                <a:gd name="connsiteY15" fmla="*/ 21450 h 2435306"/>
                <a:gd name="connsiteX0" fmla="*/ 0 w 4497210"/>
                <a:gd name="connsiteY0" fmla="*/ 21450 h 2435306"/>
                <a:gd name="connsiteX1" fmla="*/ 2679960 w 4497210"/>
                <a:gd name="connsiteY1" fmla="*/ 314328 h 2435306"/>
                <a:gd name="connsiteX2" fmla="*/ 3148045 w 4497210"/>
                <a:gd name="connsiteY2" fmla="*/ 74843 h 2435306"/>
                <a:gd name="connsiteX3" fmla="*/ 3670531 w 4497210"/>
                <a:gd name="connsiteY3" fmla="*/ 141224 h 2435306"/>
                <a:gd name="connsiteX4" fmla="*/ 4394993 w 4497210"/>
                <a:gd name="connsiteY4" fmla="*/ 934997 h 2435306"/>
                <a:gd name="connsiteX5" fmla="*/ 4465217 w 4497210"/>
                <a:gd name="connsiteY5" fmla="*/ 1348470 h 2435306"/>
                <a:gd name="connsiteX6" fmla="*/ 4149532 w 4497210"/>
                <a:gd name="connsiteY6" fmla="*/ 1725842 h 2435306"/>
                <a:gd name="connsiteX7" fmla="*/ 3949958 w 4497210"/>
                <a:gd name="connsiteY7" fmla="*/ 2324556 h 2435306"/>
                <a:gd name="connsiteX8" fmla="*/ 3663300 w 4497210"/>
                <a:gd name="connsiteY8" fmla="*/ 2408013 h 2435306"/>
                <a:gd name="connsiteX9" fmla="*/ 2606225 w 4497210"/>
                <a:gd name="connsiteY9" fmla="*/ 1401230 h 2435306"/>
                <a:gd name="connsiteX10" fmla="*/ 2139881 w 4497210"/>
                <a:gd name="connsiteY10" fmla="*/ 1302170 h 2435306"/>
                <a:gd name="connsiteX11" fmla="*/ 1732973 w 4497210"/>
                <a:gd name="connsiteY11" fmla="*/ 1247306 h 2435306"/>
                <a:gd name="connsiteX12" fmla="*/ 1380929 w 4497210"/>
                <a:gd name="connsiteY12" fmla="*/ 1288454 h 2435306"/>
                <a:gd name="connsiteX13" fmla="*/ 438912 w 4497210"/>
                <a:gd name="connsiteY13" fmla="*/ 1833922 h 2435306"/>
                <a:gd name="connsiteX14" fmla="*/ 45905 w 4497210"/>
                <a:gd name="connsiteY14" fmla="*/ 1393610 h 2435306"/>
                <a:gd name="connsiteX15" fmla="*/ 0 w 4497210"/>
                <a:gd name="connsiteY15" fmla="*/ 21450 h 2435306"/>
                <a:gd name="connsiteX0" fmla="*/ 42359 w 4539569"/>
                <a:gd name="connsiteY0" fmla="*/ 21450 h 2435306"/>
                <a:gd name="connsiteX1" fmla="*/ 2722319 w 4539569"/>
                <a:gd name="connsiteY1" fmla="*/ 314328 h 2435306"/>
                <a:gd name="connsiteX2" fmla="*/ 3190404 w 4539569"/>
                <a:gd name="connsiteY2" fmla="*/ 74843 h 2435306"/>
                <a:gd name="connsiteX3" fmla="*/ 3712890 w 4539569"/>
                <a:gd name="connsiteY3" fmla="*/ 141224 h 2435306"/>
                <a:gd name="connsiteX4" fmla="*/ 4437352 w 4539569"/>
                <a:gd name="connsiteY4" fmla="*/ 934997 h 2435306"/>
                <a:gd name="connsiteX5" fmla="*/ 4507576 w 4539569"/>
                <a:gd name="connsiteY5" fmla="*/ 1348470 h 2435306"/>
                <a:gd name="connsiteX6" fmla="*/ 4191891 w 4539569"/>
                <a:gd name="connsiteY6" fmla="*/ 1725842 h 2435306"/>
                <a:gd name="connsiteX7" fmla="*/ 3992317 w 4539569"/>
                <a:gd name="connsiteY7" fmla="*/ 2324556 h 2435306"/>
                <a:gd name="connsiteX8" fmla="*/ 3705659 w 4539569"/>
                <a:gd name="connsiteY8" fmla="*/ 2408013 h 2435306"/>
                <a:gd name="connsiteX9" fmla="*/ 2648584 w 4539569"/>
                <a:gd name="connsiteY9" fmla="*/ 1401230 h 2435306"/>
                <a:gd name="connsiteX10" fmla="*/ 2182240 w 4539569"/>
                <a:gd name="connsiteY10" fmla="*/ 1302170 h 2435306"/>
                <a:gd name="connsiteX11" fmla="*/ 1775332 w 4539569"/>
                <a:gd name="connsiteY11" fmla="*/ 1247306 h 2435306"/>
                <a:gd name="connsiteX12" fmla="*/ 1423288 w 4539569"/>
                <a:gd name="connsiteY12" fmla="*/ 1288454 h 2435306"/>
                <a:gd name="connsiteX13" fmla="*/ 481271 w 4539569"/>
                <a:gd name="connsiteY13" fmla="*/ 1833922 h 2435306"/>
                <a:gd name="connsiteX14" fmla="*/ 88264 w 4539569"/>
                <a:gd name="connsiteY14" fmla="*/ 1393610 h 2435306"/>
                <a:gd name="connsiteX15" fmla="*/ 42359 w 4539569"/>
                <a:gd name="connsiteY15" fmla="*/ 21450 h 2435306"/>
                <a:gd name="connsiteX0" fmla="*/ 55431 w 4552641"/>
                <a:gd name="connsiteY0" fmla="*/ 21450 h 2435306"/>
                <a:gd name="connsiteX1" fmla="*/ 2735391 w 4552641"/>
                <a:gd name="connsiteY1" fmla="*/ 314328 h 2435306"/>
                <a:gd name="connsiteX2" fmla="*/ 3203476 w 4552641"/>
                <a:gd name="connsiteY2" fmla="*/ 74843 h 2435306"/>
                <a:gd name="connsiteX3" fmla="*/ 3725962 w 4552641"/>
                <a:gd name="connsiteY3" fmla="*/ 141224 h 2435306"/>
                <a:gd name="connsiteX4" fmla="*/ 4450424 w 4552641"/>
                <a:gd name="connsiteY4" fmla="*/ 934997 h 2435306"/>
                <a:gd name="connsiteX5" fmla="*/ 4520648 w 4552641"/>
                <a:gd name="connsiteY5" fmla="*/ 1348470 h 2435306"/>
                <a:gd name="connsiteX6" fmla="*/ 4204963 w 4552641"/>
                <a:gd name="connsiteY6" fmla="*/ 1725842 h 2435306"/>
                <a:gd name="connsiteX7" fmla="*/ 4005389 w 4552641"/>
                <a:gd name="connsiteY7" fmla="*/ 2324556 h 2435306"/>
                <a:gd name="connsiteX8" fmla="*/ 3718731 w 4552641"/>
                <a:gd name="connsiteY8" fmla="*/ 2408013 h 2435306"/>
                <a:gd name="connsiteX9" fmla="*/ 2661656 w 4552641"/>
                <a:gd name="connsiteY9" fmla="*/ 1401230 h 2435306"/>
                <a:gd name="connsiteX10" fmla="*/ 2195312 w 4552641"/>
                <a:gd name="connsiteY10" fmla="*/ 1302170 h 2435306"/>
                <a:gd name="connsiteX11" fmla="*/ 1788404 w 4552641"/>
                <a:gd name="connsiteY11" fmla="*/ 1247306 h 2435306"/>
                <a:gd name="connsiteX12" fmla="*/ 1436360 w 4552641"/>
                <a:gd name="connsiteY12" fmla="*/ 1288454 h 2435306"/>
                <a:gd name="connsiteX13" fmla="*/ 494343 w 4552641"/>
                <a:gd name="connsiteY13" fmla="*/ 1833922 h 2435306"/>
                <a:gd name="connsiteX14" fmla="*/ 101336 w 4552641"/>
                <a:gd name="connsiteY14" fmla="*/ 1393610 h 2435306"/>
                <a:gd name="connsiteX15" fmla="*/ 55431 w 4552641"/>
                <a:gd name="connsiteY15" fmla="*/ 21450 h 2435306"/>
                <a:gd name="connsiteX0" fmla="*/ 49771 w 4546981"/>
                <a:gd name="connsiteY0" fmla="*/ 21450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49771 w 4546981"/>
                <a:gd name="connsiteY15" fmla="*/ 21450 h 2435306"/>
                <a:gd name="connsiteX0" fmla="*/ 1508239 w 4546981"/>
                <a:gd name="connsiteY0" fmla="*/ 332346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1508239 w 4546981"/>
                <a:gd name="connsiteY15" fmla="*/ 332346 h 2435306"/>
                <a:gd name="connsiteX0" fmla="*/ 1252207 w 4546981"/>
                <a:gd name="connsiteY0" fmla="*/ 483222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1252207 w 4546981"/>
                <a:gd name="connsiteY15" fmla="*/ 483222 h 2435306"/>
                <a:gd name="connsiteX0" fmla="*/ 1252207 w 4546981"/>
                <a:gd name="connsiteY0" fmla="*/ 483222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1252207 w 4546981"/>
                <a:gd name="connsiteY15" fmla="*/ 483222 h 2435306"/>
                <a:gd name="connsiteX0" fmla="*/ 1252207 w 4546981"/>
                <a:gd name="connsiteY0" fmla="*/ 483222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1252207 w 4546981"/>
                <a:gd name="connsiteY15" fmla="*/ 483222 h 2435306"/>
                <a:gd name="connsiteX0" fmla="*/ 1252207 w 4546981"/>
                <a:gd name="connsiteY0" fmla="*/ 483222 h 2435306"/>
                <a:gd name="connsiteX1" fmla="*/ 2729731 w 4546981"/>
                <a:gd name="connsiteY1" fmla="*/ 314328 h 2435306"/>
                <a:gd name="connsiteX2" fmla="*/ 3197816 w 4546981"/>
                <a:gd name="connsiteY2" fmla="*/ 74843 h 2435306"/>
                <a:gd name="connsiteX3" fmla="*/ 3720302 w 4546981"/>
                <a:gd name="connsiteY3" fmla="*/ 141224 h 2435306"/>
                <a:gd name="connsiteX4" fmla="*/ 4444764 w 4546981"/>
                <a:gd name="connsiteY4" fmla="*/ 934997 h 2435306"/>
                <a:gd name="connsiteX5" fmla="*/ 4514988 w 4546981"/>
                <a:gd name="connsiteY5" fmla="*/ 1348470 h 2435306"/>
                <a:gd name="connsiteX6" fmla="*/ 4199303 w 4546981"/>
                <a:gd name="connsiteY6" fmla="*/ 1725842 h 2435306"/>
                <a:gd name="connsiteX7" fmla="*/ 3999729 w 4546981"/>
                <a:gd name="connsiteY7" fmla="*/ 2324556 h 2435306"/>
                <a:gd name="connsiteX8" fmla="*/ 3713071 w 4546981"/>
                <a:gd name="connsiteY8" fmla="*/ 2408013 h 2435306"/>
                <a:gd name="connsiteX9" fmla="*/ 2655996 w 4546981"/>
                <a:gd name="connsiteY9" fmla="*/ 1401230 h 2435306"/>
                <a:gd name="connsiteX10" fmla="*/ 2189652 w 4546981"/>
                <a:gd name="connsiteY10" fmla="*/ 1302170 h 2435306"/>
                <a:gd name="connsiteX11" fmla="*/ 1782744 w 4546981"/>
                <a:gd name="connsiteY11" fmla="*/ 1247306 h 2435306"/>
                <a:gd name="connsiteX12" fmla="*/ 1430700 w 4546981"/>
                <a:gd name="connsiteY12" fmla="*/ 1288454 h 2435306"/>
                <a:gd name="connsiteX13" fmla="*/ 488683 w 4546981"/>
                <a:gd name="connsiteY13" fmla="*/ 1833922 h 2435306"/>
                <a:gd name="connsiteX14" fmla="*/ 95676 w 4546981"/>
                <a:gd name="connsiteY14" fmla="*/ 1393610 h 2435306"/>
                <a:gd name="connsiteX15" fmla="*/ 1252207 w 4546981"/>
                <a:gd name="connsiteY15" fmla="*/ 483222 h 2435306"/>
                <a:gd name="connsiteX0" fmla="*/ 1232610 w 4527384"/>
                <a:gd name="connsiteY0" fmla="*/ 483222 h 2435306"/>
                <a:gd name="connsiteX1" fmla="*/ 2710134 w 4527384"/>
                <a:gd name="connsiteY1" fmla="*/ 314328 h 2435306"/>
                <a:gd name="connsiteX2" fmla="*/ 3178219 w 4527384"/>
                <a:gd name="connsiteY2" fmla="*/ 74843 h 2435306"/>
                <a:gd name="connsiteX3" fmla="*/ 3700705 w 4527384"/>
                <a:gd name="connsiteY3" fmla="*/ 141224 h 2435306"/>
                <a:gd name="connsiteX4" fmla="*/ 4425167 w 4527384"/>
                <a:gd name="connsiteY4" fmla="*/ 934997 h 2435306"/>
                <a:gd name="connsiteX5" fmla="*/ 4495391 w 4527384"/>
                <a:gd name="connsiteY5" fmla="*/ 1348470 h 2435306"/>
                <a:gd name="connsiteX6" fmla="*/ 4179706 w 4527384"/>
                <a:gd name="connsiteY6" fmla="*/ 1725842 h 2435306"/>
                <a:gd name="connsiteX7" fmla="*/ 3980132 w 4527384"/>
                <a:gd name="connsiteY7" fmla="*/ 2324556 h 2435306"/>
                <a:gd name="connsiteX8" fmla="*/ 3693474 w 4527384"/>
                <a:gd name="connsiteY8" fmla="*/ 2408013 h 2435306"/>
                <a:gd name="connsiteX9" fmla="*/ 2636399 w 4527384"/>
                <a:gd name="connsiteY9" fmla="*/ 1401230 h 2435306"/>
                <a:gd name="connsiteX10" fmla="*/ 2170055 w 4527384"/>
                <a:gd name="connsiteY10" fmla="*/ 1302170 h 2435306"/>
                <a:gd name="connsiteX11" fmla="*/ 1763147 w 4527384"/>
                <a:gd name="connsiteY11" fmla="*/ 1247306 h 2435306"/>
                <a:gd name="connsiteX12" fmla="*/ 1411103 w 4527384"/>
                <a:gd name="connsiteY12" fmla="*/ 1288454 h 2435306"/>
                <a:gd name="connsiteX13" fmla="*/ 469086 w 4527384"/>
                <a:gd name="connsiteY13" fmla="*/ 1833922 h 2435306"/>
                <a:gd name="connsiteX14" fmla="*/ 98939 w 4527384"/>
                <a:gd name="connsiteY14" fmla="*/ 1347890 h 2435306"/>
                <a:gd name="connsiteX15" fmla="*/ 1232610 w 4527384"/>
                <a:gd name="connsiteY15" fmla="*/ 483222 h 2435306"/>
                <a:gd name="connsiteX0" fmla="*/ 1247947 w 4542721"/>
                <a:gd name="connsiteY0" fmla="*/ 483222 h 2435306"/>
                <a:gd name="connsiteX1" fmla="*/ 2725471 w 4542721"/>
                <a:gd name="connsiteY1" fmla="*/ 314328 h 2435306"/>
                <a:gd name="connsiteX2" fmla="*/ 3193556 w 4542721"/>
                <a:gd name="connsiteY2" fmla="*/ 74843 h 2435306"/>
                <a:gd name="connsiteX3" fmla="*/ 3716042 w 4542721"/>
                <a:gd name="connsiteY3" fmla="*/ 141224 h 2435306"/>
                <a:gd name="connsiteX4" fmla="*/ 4440504 w 4542721"/>
                <a:gd name="connsiteY4" fmla="*/ 934997 h 2435306"/>
                <a:gd name="connsiteX5" fmla="*/ 4510728 w 4542721"/>
                <a:gd name="connsiteY5" fmla="*/ 1348470 h 2435306"/>
                <a:gd name="connsiteX6" fmla="*/ 4195043 w 4542721"/>
                <a:gd name="connsiteY6" fmla="*/ 1725842 h 2435306"/>
                <a:gd name="connsiteX7" fmla="*/ 3995469 w 4542721"/>
                <a:gd name="connsiteY7" fmla="*/ 2324556 h 2435306"/>
                <a:gd name="connsiteX8" fmla="*/ 3708811 w 4542721"/>
                <a:gd name="connsiteY8" fmla="*/ 2408013 h 2435306"/>
                <a:gd name="connsiteX9" fmla="*/ 2651736 w 4542721"/>
                <a:gd name="connsiteY9" fmla="*/ 1401230 h 2435306"/>
                <a:gd name="connsiteX10" fmla="*/ 2185392 w 4542721"/>
                <a:gd name="connsiteY10" fmla="*/ 1302170 h 2435306"/>
                <a:gd name="connsiteX11" fmla="*/ 1778484 w 4542721"/>
                <a:gd name="connsiteY11" fmla="*/ 1247306 h 2435306"/>
                <a:gd name="connsiteX12" fmla="*/ 1426440 w 4542721"/>
                <a:gd name="connsiteY12" fmla="*/ 1288454 h 2435306"/>
                <a:gd name="connsiteX13" fmla="*/ 484423 w 4542721"/>
                <a:gd name="connsiteY13" fmla="*/ 1833922 h 2435306"/>
                <a:gd name="connsiteX14" fmla="*/ 114276 w 4542721"/>
                <a:gd name="connsiteY14" fmla="*/ 1347890 h 2435306"/>
                <a:gd name="connsiteX15" fmla="*/ 1247947 w 4542721"/>
                <a:gd name="connsiteY15" fmla="*/ 483222 h 2435306"/>
                <a:gd name="connsiteX0" fmla="*/ 1246681 w 4541455"/>
                <a:gd name="connsiteY0" fmla="*/ 483222 h 2435306"/>
                <a:gd name="connsiteX1" fmla="*/ 2724205 w 4541455"/>
                <a:gd name="connsiteY1" fmla="*/ 314328 h 2435306"/>
                <a:gd name="connsiteX2" fmla="*/ 3192290 w 4541455"/>
                <a:gd name="connsiteY2" fmla="*/ 74843 h 2435306"/>
                <a:gd name="connsiteX3" fmla="*/ 3714776 w 4541455"/>
                <a:gd name="connsiteY3" fmla="*/ 141224 h 2435306"/>
                <a:gd name="connsiteX4" fmla="*/ 4439238 w 4541455"/>
                <a:gd name="connsiteY4" fmla="*/ 934997 h 2435306"/>
                <a:gd name="connsiteX5" fmla="*/ 4509462 w 4541455"/>
                <a:gd name="connsiteY5" fmla="*/ 1348470 h 2435306"/>
                <a:gd name="connsiteX6" fmla="*/ 4193777 w 4541455"/>
                <a:gd name="connsiteY6" fmla="*/ 1725842 h 2435306"/>
                <a:gd name="connsiteX7" fmla="*/ 3994203 w 4541455"/>
                <a:gd name="connsiteY7" fmla="*/ 2324556 h 2435306"/>
                <a:gd name="connsiteX8" fmla="*/ 3707545 w 4541455"/>
                <a:gd name="connsiteY8" fmla="*/ 2408013 h 2435306"/>
                <a:gd name="connsiteX9" fmla="*/ 2650470 w 4541455"/>
                <a:gd name="connsiteY9" fmla="*/ 1401230 h 2435306"/>
                <a:gd name="connsiteX10" fmla="*/ 2184126 w 4541455"/>
                <a:gd name="connsiteY10" fmla="*/ 1302170 h 2435306"/>
                <a:gd name="connsiteX11" fmla="*/ 1777218 w 4541455"/>
                <a:gd name="connsiteY11" fmla="*/ 1247306 h 2435306"/>
                <a:gd name="connsiteX12" fmla="*/ 1425174 w 4541455"/>
                <a:gd name="connsiteY12" fmla="*/ 1288454 h 2435306"/>
                <a:gd name="connsiteX13" fmla="*/ 483157 w 4541455"/>
                <a:gd name="connsiteY13" fmla="*/ 1833922 h 2435306"/>
                <a:gd name="connsiteX14" fmla="*/ 113010 w 4541455"/>
                <a:gd name="connsiteY14" fmla="*/ 1347890 h 2435306"/>
                <a:gd name="connsiteX15" fmla="*/ 1246681 w 4541455"/>
                <a:gd name="connsiteY15" fmla="*/ 483222 h 2435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41455" h="2435306">
                  <a:moveTo>
                    <a:pt x="1246681" y="483222"/>
                  </a:moveTo>
                  <a:cubicBezTo>
                    <a:pt x="1835201" y="52020"/>
                    <a:pt x="2396289" y="311190"/>
                    <a:pt x="2724205" y="314328"/>
                  </a:cubicBezTo>
                  <a:cubicBezTo>
                    <a:pt x="2960062" y="331262"/>
                    <a:pt x="3047147" y="170395"/>
                    <a:pt x="3192290" y="74843"/>
                  </a:cubicBezTo>
                  <a:cubicBezTo>
                    <a:pt x="3383386" y="-77202"/>
                    <a:pt x="3592623" y="32011"/>
                    <a:pt x="3714776" y="141224"/>
                  </a:cubicBezTo>
                  <a:lnTo>
                    <a:pt x="4439238" y="934997"/>
                  </a:lnTo>
                  <a:cubicBezTo>
                    <a:pt x="4506189" y="1003878"/>
                    <a:pt x="4587654" y="1116304"/>
                    <a:pt x="4509462" y="1348470"/>
                  </a:cubicBezTo>
                  <a:cubicBezTo>
                    <a:pt x="4436891" y="1483937"/>
                    <a:pt x="4280862" y="1633916"/>
                    <a:pt x="4193777" y="1725842"/>
                  </a:cubicBezTo>
                  <a:cubicBezTo>
                    <a:pt x="4115158" y="1959280"/>
                    <a:pt x="4076451" y="2116518"/>
                    <a:pt x="3994203" y="2324556"/>
                  </a:cubicBezTo>
                  <a:cubicBezTo>
                    <a:pt x="3956707" y="2399546"/>
                    <a:pt x="3850270" y="2478166"/>
                    <a:pt x="3707545" y="2408013"/>
                  </a:cubicBezTo>
                  <a:lnTo>
                    <a:pt x="2650470" y="1401230"/>
                  </a:lnTo>
                  <a:cubicBezTo>
                    <a:pt x="2581890" y="1340778"/>
                    <a:pt x="2463018" y="1243750"/>
                    <a:pt x="2184126" y="1302170"/>
                  </a:cubicBezTo>
                  <a:cubicBezTo>
                    <a:pt x="2066778" y="1309282"/>
                    <a:pt x="1983720" y="1304456"/>
                    <a:pt x="1777218" y="1247306"/>
                  </a:cubicBezTo>
                  <a:cubicBezTo>
                    <a:pt x="1726164" y="1217588"/>
                    <a:pt x="1655329" y="1154109"/>
                    <a:pt x="1425174" y="1288454"/>
                  </a:cubicBezTo>
                  <a:cubicBezTo>
                    <a:pt x="932860" y="1563241"/>
                    <a:pt x="756015" y="1710011"/>
                    <a:pt x="483157" y="1833922"/>
                  </a:cubicBezTo>
                  <a:cubicBezTo>
                    <a:pt x="246999" y="1938611"/>
                    <a:pt x="-213188" y="1691257"/>
                    <a:pt x="113010" y="1347890"/>
                  </a:cubicBezTo>
                  <a:lnTo>
                    <a:pt x="1246681" y="48322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36" name="Rectangle 2">
              <a:extLst>
                <a:ext uri="{FF2B5EF4-FFF2-40B4-BE49-F238E27FC236}">
                  <a16:creationId xmlns:a16="http://schemas.microsoft.com/office/drawing/2014/main" id="{559323B2-6771-47FB-B811-C5BD185835DF}"/>
                </a:ext>
              </a:extLst>
            </p:cNvPr>
            <p:cNvSpPr/>
            <p:nvPr/>
          </p:nvSpPr>
          <p:spPr>
            <a:xfrm>
              <a:off x="5073711" y="2101710"/>
              <a:ext cx="238413" cy="235774"/>
            </a:xfrm>
            <a:custGeom>
              <a:avLst/>
              <a:gdLst>
                <a:gd name="connsiteX0" fmla="*/ 0 w 2013626"/>
                <a:gd name="connsiteY0" fmla="*/ 0 h 1327826"/>
                <a:gd name="connsiteX1" fmla="*/ 2013626 w 2013626"/>
                <a:gd name="connsiteY1" fmla="*/ 0 h 1327826"/>
                <a:gd name="connsiteX2" fmla="*/ 2013626 w 2013626"/>
                <a:gd name="connsiteY2" fmla="*/ 1327826 h 1327826"/>
                <a:gd name="connsiteX3" fmla="*/ 0 w 2013626"/>
                <a:gd name="connsiteY3" fmla="*/ 1327826 h 1327826"/>
                <a:gd name="connsiteX4" fmla="*/ 0 w 2013626"/>
                <a:gd name="connsiteY4" fmla="*/ 0 h 1327826"/>
                <a:gd name="connsiteX0" fmla="*/ 311285 w 2324911"/>
                <a:gd name="connsiteY0" fmla="*/ 0 h 1347281"/>
                <a:gd name="connsiteX1" fmla="*/ 2324911 w 2324911"/>
                <a:gd name="connsiteY1" fmla="*/ 0 h 1347281"/>
                <a:gd name="connsiteX2" fmla="*/ 2324911 w 2324911"/>
                <a:gd name="connsiteY2" fmla="*/ 1327826 h 1347281"/>
                <a:gd name="connsiteX3" fmla="*/ 0 w 2324911"/>
                <a:gd name="connsiteY3" fmla="*/ 1347281 h 1347281"/>
                <a:gd name="connsiteX4" fmla="*/ 311285 w 2324911"/>
                <a:gd name="connsiteY4" fmla="*/ 0 h 1347281"/>
                <a:gd name="connsiteX0" fmla="*/ 38911 w 2324911"/>
                <a:gd name="connsiteY0" fmla="*/ 768486 h 1347281"/>
                <a:gd name="connsiteX1" fmla="*/ 2324911 w 2324911"/>
                <a:gd name="connsiteY1" fmla="*/ 0 h 1347281"/>
                <a:gd name="connsiteX2" fmla="*/ 2324911 w 2324911"/>
                <a:gd name="connsiteY2" fmla="*/ 1327826 h 1347281"/>
                <a:gd name="connsiteX3" fmla="*/ 0 w 2324911"/>
                <a:gd name="connsiteY3" fmla="*/ 1347281 h 1347281"/>
                <a:gd name="connsiteX4" fmla="*/ 38911 w 2324911"/>
                <a:gd name="connsiteY4" fmla="*/ 768486 h 1347281"/>
                <a:gd name="connsiteX0" fmla="*/ 38911 w 2324911"/>
                <a:gd name="connsiteY0" fmla="*/ 972767 h 1551562"/>
                <a:gd name="connsiteX1" fmla="*/ 928992 w 2324911"/>
                <a:gd name="connsiteY1" fmla="*/ 0 h 1551562"/>
                <a:gd name="connsiteX2" fmla="*/ 2324911 w 2324911"/>
                <a:gd name="connsiteY2" fmla="*/ 1532107 h 1551562"/>
                <a:gd name="connsiteX3" fmla="*/ 0 w 2324911"/>
                <a:gd name="connsiteY3" fmla="*/ 1551562 h 1551562"/>
                <a:gd name="connsiteX4" fmla="*/ 38911 w 2324911"/>
                <a:gd name="connsiteY4" fmla="*/ 972767 h 1551562"/>
                <a:gd name="connsiteX0" fmla="*/ 38911 w 1585609"/>
                <a:gd name="connsiteY0" fmla="*/ 982494 h 1561289"/>
                <a:gd name="connsiteX1" fmla="*/ 928992 w 1585609"/>
                <a:gd name="connsiteY1" fmla="*/ 9727 h 1561289"/>
                <a:gd name="connsiteX2" fmla="*/ 1585609 w 1585609"/>
                <a:gd name="connsiteY2" fmla="*/ 0 h 1561289"/>
                <a:gd name="connsiteX3" fmla="*/ 0 w 1585609"/>
                <a:gd name="connsiteY3" fmla="*/ 1561289 h 1561289"/>
                <a:gd name="connsiteX4" fmla="*/ 38911 w 1585609"/>
                <a:gd name="connsiteY4" fmla="*/ 982494 h 1561289"/>
                <a:gd name="connsiteX0" fmla="*/ 38911 w 1585609"/>
                <a:gd name="connsiteY0" fmla="*/ 982494 h 1561289"/>
                <a:gd name="connsiteX1" fmla="*/ 928992 w 1585609"/>
                <a:gd name="connsiteY1" fmla="*/ 9727 h 1561289"/>
                <a:gd name="connsiteX2" fmla="*/ 1585609 w 1585609"/>
                <a:gd name="connsiteY2" fmla="*/ 0 h 1561289"/>
                <a:gd name="connsiteX3" fmla="*/ 1181912 w 1585609"/>
                <a:gd name="connsiteY3" fmla="*/ 384243 h 1561289"/>
                <a:gd name="connsiteX4" fmla="*/ 0 w 1585609"/>
                <a:gd name="connsiteY4" fmla="*/ 1561289 h 1561289"/>
                <a:gd name="connsiteX5" fmla="*/ 38911 w 1585609"/>
                <a:gd name="connsiteY5" fmla="*/ 982494 h 1561289"/>
                <a:gd name="connsiteX0" fmla="*/ 38911 w 2490282"/>
                <a:gd name="connsiteY0" fmla="*/ 982494 h 1561289"/>
                <a:gd name="connsiteX1" fmla="*/ 928992 w 2490282"/>
                <a:gd name="connsiteY1" fmla="*/ 9727 h 1561289"/>
                <a:gd name="connsiteX2" fmla="*/ 1585609 w 2490282"/>
                <a:gd name="connsiteY2" fmla="*/ 0 h 1561289"/>
                <a:gd name="connsiteX3" fmla="*/ 2490282 w 2490282"/>
                <a:gd name="connsiteY3" fmla="*/ 131323 h 1561289"/>
                <a:gd name="connsiteX4" fmla="*/ 0 w 2490282"/>
                <a:gd name="connsiteY4" fmla="*/ 1561289 h 1561289"/>
                <a:gd name="connsiteX5" fmla="*/ 38911 w 2490282"/>
                <a:gd name="connsiteY5" fmla="*/ 982494 h 1561289"/>
                <a:gd name="connsiteX0" fmla="*/ 38911 w 2490282"/>
                <a:gd name="connsiteY0" fmla="*/ 982494 h 1561289"/>
                <a:gd name="connsiteX1" fmla="*/ 928992 w 2490282"/>
                <a:gd name="connsiteY1" fmla="*/ 9727 h 1561289"/>
                <a:gd name="connsiteX2" fmla="*/ 1585609 w 2490282"/>
                <a:gd name="connsiteY2" fmla="*/ 0 h 1561289"/>
                <a:gd name="connsiteX3" fmla="*/ 2490282 w 2490282"/>
                <a:gd name="connsiteY3" fmla="*/ 131323 h 1561289"/>
                <a:gd name="connsiteX4" fmla="*/ 1347281 w 2490282"/>
                <a:gd name="connsiteY4" fmla="*/ 792805 h 1561289"/>
                <a:gd name="connsiteX5" fmla="*/ 0 w 2490282"/>
                <a:gd name="connsiteY5" fmla="*/ 1561289 h 1561289"/>
                <a:gd name="connsiteX6" fmla="*/ 38911 w 2490282"/>
                <a:gd name="connsiteY6" fmla="*/ 982494 h 1561289"/>
                <a:gd name="connsiteX0" fmla="*/ 38911 w 2490282"/>
                <a:gd name="connsiteY0" fmla="*/ 982494 h 1561289"/>
                <a:gd name="connsiteX1" fmla="*/ 928992 w 2490282"/>
                <a:gd name="connsiteY1" fmla="*/ 9727 h 1561289"/>
                <a:gd name="connsiteX2" fmla="*/ 1585609 w 2490282"/>
                <a:gd name="connsiteY2" fmla="*/ 0 h 1561289"/>
                <a:gd name="connsiteX3" fmla="*/ 2490282 w 2490282"/>
                <a:gd name="connsiteY3" fmla="*/ 131323 h 1561289"/>
                <a:gd name="connsiteX4" fmla="*/ 1488332 w 2490282"/>
                <a:gd name="connsiteY4" fmla="*/ 355060 h 1561289"/>
                <a:gd name="connsiteX5" fmla="*/ 0 w 2490282"/>
                <a:gd name="connsiteY5" fmla="*/ 1561289 h 1561289"/>
                <a:gd name="connsiteX6" fmla="*/ 38911 w 2490282"/>
                <a:gd name="connsiteY6" fmla="*/ 982494 h 1561289"/>
                <a:gd name="connsiteX0" fmla="*/ 38911 w 2490282"/>
                <a:gd name="connsiteY0" fmla="*/ 982494 h 1561289"/>
                <a:gd name="connsiteX1" fmla="*/ 928992 w 2490282"/>
                <a:gd name="connsiteY1" fmla="*/ 9727 h 1561289"/>
                <a:gd name="connsiteX2" fmla="*/ 1585609 w 2490282"/>
                <a:gd name="connsiteY2" fmla="*/ 0 h 1561289"/>
                <a:gd name="connsiteX3" fmla="*/ 2490282 w 2490282"/>
                <a:gd name="connsiteY3" fmla="*/ 131323 h 1561289"/>
                <a:gd name="connsiteX4" fmla="*/ 1488332 w 2490282"/>
                <a:gd name="connsiteY4" fmla="*/ 355060 h 1561289"/>
                <a:gd name="connsiteX5" fmla="*/ 787940 w 2490282"/>
                <a:gd name="connsiteY5" fmla="*/ 914401 h 1561289"/>
                <a:gd name="connsiteX6" fmla="*/ 0 w 2490282"/>
                <a:gd name="connsiteY6" fmla="*/ 1561289 h 1561289"/>
                <a:gd name="connsiteX7" fmla="*/ 38911 w 2490282"/>
                <a:gd name="connsiteY7" fmla="*/ 982494 h 1561289"/>
                <a:gd name="connsiteX0" fmla="*/ 38911 w 2490282"/>
                <a:gd name="connsiteY0" fmla="*/ 982494 h 1561289"/>
                <a:gd name="connsiteX1" fmla="*/ 928992 w 2490282"/>
                <a:gd name="connsiteY1" fmla="*/ 9727 h 1561289"/>
                <a:gd name="connsiteX2" fmla="*/ 1585609 w 2490282"/>
                <a:gd name="connsiteY2" fmla="*/ 0 h 1561289"/>
                <a:gd name="connsiteX3" fmla="*/ 2490282 w 2490282"/>
                <a:gd name="connsiteY3" fmla="*/ 131323 h 1561289"/>
                <a:gd name="connsiteX4" fmla="*/ 1488332 w 2490282"/>
                <a:gd name="connsiteY4" fmla="*/ 355060 h 1561289"/>
                <a:gd name="connsiteX5" fmla="*/ 1070042 w 2490282"/>
                <a:gd name="connsiteY5" fmla="*/ 306422 h 1561289"/>
                <a:gd name="connsiteX6" fmla="*/ 0 w 2490282"/>
                <a:gd name="connsiteY6" fmla="*/ 1561289 h 1561289"/>
                <a:gd name="connsiteX7" fmla="*/ 38911 w 2490282"/>
                <a:gd name="connsiteY7" fmla="*/ 982494 h 1561289"/>
                <a:gd name="connsiteX0" fmla="*/ 53503 w 2504874"/>
                <a:gd name="connsiteY0" fmla="*/ 982494 h 1532106"/>
                <a:gd name="connsiteX1" fmla="*/ 943584 w 2504874"/>
                <a:gd name="connsiteY1" fmla="*/ 9727 h 1532106"/>
                <a:gd name="connsiteX2" fmla="*/ 1600201 w 2504874"/>
                <a:gd name="connsiteY2" fmla="*/ 0 h 1532106"/>
                <a:gd name="connsiteX3" fmla="*/ 2504874 w 2504874"/>
                <a:gd name="connsiteY3" fmla="*/ 131323 h 1532106"/>
                <a:gd name="connsiteX4" fmla="*/ 1502924 w 2504874"/>
                <a:gd name="connsiteY4" fmla="*/ 355060 h 1532106"/>
                <a:gd name="connsiteX5" fmla="*/ 1084634 w 2504874"/>
                <a:gd name="connsiteY5" fmla="*/ 306422 h 1532106"/>
                <a:gd name="connsiteX6" fmla="*/ 0 w 2504874"/>
                <a:gd name="connsiteY6" fmla="*/ 1532106 h 1532106"/>
                <a:gd name="connsiteX7" fmla="*/ 53503 w 2504874"/>
                <a:gd name="connsiteY7" fmla="*/ 982494 h 1532106"/>
                <a:gd name="connsiteX0" fmla="*/ 53503 w 2504874"/>
                <a:gd name="connsiteY0" fmla="*/ 982494 h 1532106"/>
                <a:gd name="connsiteX1" fmla="*/ 943584 w 2504874"/>
                <a:gd name="connsiteY1" fmla="*/ 9727 h 1532106"/>
                <a:gd name="connsiteX2" fmla="*/ 1600201 w 2504874"/>
                <a:gd name="connsiteY2" fmla="*/ 0 h 1532106"/>
                <a:gd name="connsiteX3" fmla="*/ 2504874 w 2504874"/>
                <a:gd name="connsiteY3" fmla="*/ 131323 h 1532106"/>
                <a:gd name="connsiteX4" fmla="*/ 1502924 w 2504874"/>
                <a:gd name="connsiteY4" fmla="*/ 355060 h 1532106"/>
                <a:gd name="connsiteX5" fmla="*/ 1084634 w 2504874"/>
                <a:gd name="connsiteY5" fmla="*/ 306422 h 1532106"/>
                <a:gd name="connsiteX6" fmla="*/ 252920 w 2504874"/>
                <a:gd name="connsiteY6" fmla="*/ 1245141 h 1532106"/>
                <a:gd name="connsiteX7" fmla="*/ 0 w 2504874"/>
                <a:gd name="connsiteY7" fmla="*/ 1532106 h 1532106"/>
                <a:gd name="connsiteX8" fmla="*/ 53503 w 2504874"/>
                <a:gd name="connsiteY8" fmla="*/ 982494 h 1532106"/>
                <a:gd name="connsiteX0" fmla="*/ 53503 w 2504874"/>
                <a:gd name="connsiteY0" fmla="*/ 982494 h 1532106"/>
                <a:gd name="connsiteX1" fmla="*/ 943584 w 2504874"/>
                <a:gd name="connsiteY1" fmla="*/ 9727 h 1532106"/>
                <a:gd name="connsiteX2" fmla="*/ 1600201 w 2504874"/>
                <a:gd name="connsiteY2" fmla="*/ 0 h 1532106"/>
                <a:gd name="connsiteX3" fmla="*/ 2504874 w 2504874"/>
                <a:gd name="connsiteY3" fmla="*/ 131323 h 1532106"/>
                <a:gd name="connsiteX4" fmla="*/ 1502924 w 2504874"/>
                <a:gd name="connsiteY4" fmla="*/ 355060 h 1532106"/>
                <a:gd name="connsiteX5" fmla="*/ 1084634 w 2504874"/>
                <a:gd name="connsiteY5" fmla="*/ 306422 h 1532106"/>
                <a:gd name="connsiteX6" fmla="*/ 355060 w 2504874"/>
                <a:gd name="connsiteY6" fmla="*/ 1425102 h 1532106"/>
                <a:gd name="connsiteX7" fmla="*/ 0 w 2504874"/>
                <a:gd name="connsiteY7" fmla="*/ 1532106 h 1532106"/>
                <a:gd name="connsiteX8" fmla="*/ 53503 w 2504874"/>
                <a:gd name="connsiteY8" fmla="*/ 982494 h 1532106"/>
                <a:gd name="connsiteX0" fmla="*/ 53503 w 2504874"/>
                <a:gd name="connsiteY0" fmla="*/ 982494 h 1532106"/>
                <a:gd name="connsiteX1" fmla="*/ 943584 w 2504874"/>
                <a:gd name="connsiteY1" fmla="*/ 9727 h 1532106"/>
                <a:gd name="connsiteX2" fmla="*/ 1600201 w 2504874"/>
                <a:gd name="connsiteY2" fmla="*/ 0 h 1532106"/>
                <a:gd name="connsiteX3" fmla="*/ 2504874 w 2504874"/>
                <a:gd name="connsiteY3" fmla="*/ 131323 h 1532106"/>
                <a:gd name="connsiteX4" fmla="*/ 1502924 w 2504874"/>
                <a:gd name="connsiteY4" fmla="*/ 355060 h 1532106"/>
                <a:gd name="connsiteX5" fmla="*/ 1084634 w 2504874"/>
                <a:gd name="connsiteY5" fmla="*/ 306422 h 1532106"/>
                <a:gd name="connsiteX6" fmla="*/ 355060 w 2504874"/>
                <a:gd name="connsiteY6" fmla="*/ 1118680 h 1532106"/>
                <a:gd name="connsiteX7" fmla="*/ 0 w 2504874"/>
                <a:gd name="connsiteY7" fmla="*/ 1532106 h 1532106"/>
                <a:gd name="connsiteX8" fmla="*/ 53503 w 2504874"/>
                <a:gd name="connsiteY8" fmla="*/ 982494 h 1532106"/>
                <a:gd name="connsiteX0" fmla="*/ 93644 w 2545015"/>
                <a:gd name="connsiteY0" fmla="*/ 982494 h 1532106"/>
                <a:gd name="connsiteX1" fmla="*/ 983725 w 2545015"/>
                <a:gd name="connsiteY1" fmla="*/ 9727 h 1532106"/>
                <a:gd name="connsiteX2" fmla="*/ 1640342 w 2545015"/>
                <a:gd name="connsiteY2" fmla="*/ 0 h 1532106"/>
                <a:gd name="connsiteX3" fmla="*/ 2545015 w 2545015"/>
                <a:gd name="connsiteY3" fmla="*/ 131323 h 1532106"/>
                <a:gd name="connsiteX4" fmla="*/ 1543065 w 2545015"/>
                <a:gd name="connsiteY4" fmla="*/ 355060 h 1532106"/>
                <a:gd name="connsiteX5" fmla="*/ 1124775 w 2545015"/>
                <a:gd name="connsiteY5" fmla="*/ 306422 h 1532106"/>
                <a:gd name="connsiteX6" fmla="*/ 395201 w 2545015"/>
                <a:gd name="connsiteY6" fmla="*/ 1118680 h 1532106"/>
                <a:gd name="connsiteX7" fmla="*/ 40141 w 2545015"/>
                <a:gd name="connsiteY7" fmla="*/ 1532106 h 1532106"/>
                <a:gd name="connsiteX8" fmla="*/ 93644 w 2545015"/>
                <a:gd name="connsiteY8" fmla="*/ 982494 h 1532106"/>
                <a:gd name="connsiteX0" fmla="*/ 96072 w 2547443"/>
                <a:gd name="connsiteY0" fmla="*/ 982494 h 1532106"/>
                <a:gd name="connsiteX1" fmla="*/ 986153 w 2547443"/>
                <a:gd name="connsiteY1" fmla="*/ 9727 h 1532106"/>
                <a:gd name="connsiteX2" fmla="*/ 1642770 w 2547443"/>
                <a:gd name="connsiteY2" fmla="*/ 0 h 1532106"/>
                <a:gd name="connsiteX3" fmla="*/ 2547443 w 2547443"/>
                <a:gd name="connsiteY3" fmla="*/ 131323 h 1532106"/>
                <a:gd name="connsiteX4" fmla="*/ 1545493 w 2547443"/>
                <a:gd name="connsiteY4" fmla="*/ 355060 h 1532106"/>
                <a:gd name="connsiteX5" fmla="*/ 1127203 w 2547443"/>
                <a:gd name="connsiteY5" fmla="*/ 306422 h 1532106"/>
                <a:gd name="connsiteX6" fmla="*/ 397629 w 2547443"/>
                <a:gd name="connsiteY6" fmla="*/ 1118680 h 1532106"/>
                <a:gd name="connsiteX7" fmla="*/ 42569 w 2547443"/>
                <a:gd name="connsiteY7" fmla="*/ 1532106 h 1532106"/>
                <a:gd name="connsiteX8" fmla="*/ 96072 w 2547443"/>
                <a:gd name="connsiteY8" fmla="*/ 982494 h 1532106"/>
                <a:gd name="connsiteX0" fmla="*/ 96072 w 2547443"/>
                <a:gd name="connsiteY0" fmla="*/ 982494 h 1677790"/>
                <a:gd name="connsiteX1" fmla="*/ 986153 w 2547443"/>
                <a:gd name="connsiteY1" fmla="*/ 9727 h 1677790"/>
                <a:gd name="connsiteX2" fmla="*/ 1642770 w 2547443"/>
                <a:gd name="connsiteY2" fmla="*/ 0 h 1677790"/>
                <a:gd name="connsiteX3" fmla="*/ 2547443 w 2547443"/>
                <a:gd name="connsiteY3" fmla="*/ 131323 h 1677790"/>
                <a:gd name="connsiteX4" fmla="*/ 1545493 w 2547443"/>
                <a:gd name="connsiteY4" fmla="*/ 355060 h 1677790"/>
                <a:gd name="connsiteX5" fmla="*/ 1127203 w 2547443"/>
                <a:gd name="connsiteY5" fmla="*/ 306422 h 1677790"/>
                <a:gd name="connsiteX6" fmla="*/ 397629 w 2547443"/>
                <a:gd name="connsiteY6" fmla="*/ 1118680 h 1677790"/>
                <a:gd name="connsiteX7" fmla="*/ 42569 w 2547443"/>
                <a:gd name="connsiteY7" fmla="*/ 1532106 h 1677790"/>
                <a:gd name="connsiteX8" fmla="*/ 96072 w 2547443"/>
                <a:gd name="connsiteY8" fmla="*/ 982494 h 1677790"/>
                <a:gd name="connsiteX0" fmla="*/ 96072 w 2547443"/>
                <a:gd name="connsiteY0" fmla="*/ 982494 h 1552660"/>
                <a:gd name="connsiteX1" fmla="*/ 986153 w 2547443"/>
                <a:gd name="connsiteY1" fmla="*/ 9727 h 1552660"/>
                <a:gd name="connsiteX2" fmla="*/ 1642770 w 2547443"/>
                <a:gd name="connsiteY2" fmla="*/ 0 h 1552660"/>
                <a:gd name="connsiteX3" fmla="*/ 2547443 w 2547443"/>
                <a:gd name="connsiteY3" fmla="*/ 131323 h 1552660"/>
                <a:gd name="connsiteX4" fmla="*/ 1545493 w 2547443"/>
                <a:gd name="connsiteY4" fmla="*/ 355060 h 1552660"/>
                <a:gd name="connsiteX5" fmla="*/ 1127203 w 2547443"/>
                <a:gd name="connsiteY5" fmla="*/ 306422 h 1552660"/>
                <a:gd name="connsiteX6" fmla="*/ 397629 w 2547443"/>
                <a:gd name="connsiteY6" fmla="*/ 1118680 h 1552660"/>
                <a:gd name="connsiteX7" fmla="*/ 344128 w 2547443"/>
                <a:gd name="connsiteY7" fmla="*/ 1405647 h 1552660"/>
                <a:gd name="connsiteX8" fmla="*/ 42569 w 2547443"/>
                <a:gd name="connsiteY8" fmla="*/ 1532106 h 1552660"/>
                <a:gd name="connsiteX9" fmla="*/ 96072 w 2547443"/>
                <a:gd name="connsiteY9" fmla="*/ 982494 h 1552660"/>
                <a:gd name="connsiteX0" fmla="*/ 96072 w 2547443"/>
                <a:gd name="connsiteY0" fmla="*/ 982494 h 1554370"/>
                <a:gd name="connsiteX1" fmla="*/ 986153 w 2547443"/>
                <a:gd name="connsiteY1" fmla="*/ 9727 h 1554370"/>
                <a:gd name="connsiteX2" fmla="*/ 1642770 w 2547443"/>
                <a:gd name="connsiteY2" fmla="*/ 0 h 1554370"/>
                <a:gd name="connsiteX3" fmla="*/ 2547443 w 2547443"/>
                <a:gd name="connsiteY3" fmla="*/ 131323 h 1554370"/>
                <a:gd name="connsiteX4" fmla="*/ 1545493 w 2547443"/>
                <a:gd name="connsiteY4" fmla="*/ 355060 h 1554370"/>
                <a:gd name="connsiteX5" fmla="*/ 1127203 w 2547443"/>
                <a:gd name="connsiteY5" fmla="*/ 306422 h 1554370"/>
                <a:gd name="connsiteX6" fmla="*/ 397629 w 2547443"/>
                <a:gd name="connsiteY6" fmla="*/ 1118680 h 1554370"/>
                <a:gd name="connsiteX7" fmla="*/ 378175 w 2547443"/>
                <a:gd name="connsiteY7" fmla="*/ 1420238 h 1554370"/>
                <a:gd name="connsiteX8" fmla="*/ 42569 w 2547443"/>
                <a:gd name="connsiteY8" fmla="*/ 1532106 h 1554370"/>
                <a:gd name="connsiteX9" fmla="*/ 96072 w 2547443"/>
                <a:gd name="connsiteY9" fmla="*/ 982494 h 1554370"/>
                <a:gd name="connsiteX0" fmla="*/ 96072 w 2547443"/>
                <a:gd name="connsiteY0" fmla="*/ 982494 h 1554370"/>
                <a:gd name="connsiteX1" fmla="*/ 986153 w 2547443"/>
                <a:gd name="connsiteY1" fmla="*/ 9727 h 1554370"/>
                <a:gd name="connsiteX2" fmla="*/ 1642770 w 2547443"/>
                <a:gd name="connsiteY2" fmla="*/ 0 h 1554370"/>
                <a:gd name="connsiteX3" fmla="*/ 2547443 w 2547443"/>
                <a:gd name="connsiteY3" fmla="*/ 131323 h 1554370"/>
                <a:gd name="connsiteX4" fmla="*/ 1545493 w 2547443"/>
                <a:gd name="connsiteY4" fmla="*/ 355060 h 1554370"/>
                <a:gd name="connsiteX5" fmla="*/ 1127203 w 2547443"/>
                <a:gd name="connsiteY5" fmla="*/ 306422 h 1554370"/>
                <a:gd name="connsiteX6" fmla="*/ 397629 w 2547443"/>
                <a:gd name="connsiteY6" fmla="*/ 1118680 h 1554370"/>
                <a:gd name="connsiteX7" fmla="*/ 378175 w 2547443"/>
                <a:gd name="connsiteY7" fmla="*/ 1420238 h 1554370"/>
                <a:gd name="connsiteX8" fmla="*/ 42569 w 2547443"/>
                <a:gd name="connsiteY8" fmla="*/ 1532106 h 1554370"/>
                <a:gd name="connsiteX9" fmla="*/ 96072 w 2547443"/>
                <a:gd name="connsiteY9" fmla="*/ 982494 h 1554370"/>
                <a:gd name="connsiteX0" fmla="*/ 96072 w 2547443"/>
                <a:gd name="connsiteY0" fmla="*/ 982494 h 1554370"/>
                <a:gd name="connsiteX1" fmla="*/ 986153 w 2547443"/>
                <a:gd name="connsiteY1" fmla="*/ 9727 h 1554370"/>
                <a:gd name="connsiteX2" fmla="*/ 1642770 w 2547443"/>
                <a:gd name="connsiteY2" fmla="*/ 0 h 1554370"/>
                <a:gd name="connsiteX3" fmla="*/ 2547443 w 2547443"/>
                <a:gd name="connsiteY3" fmla="*/ 131323 h 1554370"/>
                <a:gd name="connsiteX4" fmla="*/ 1545493 w 2547443"/>
                <a:gd name="connsiteY4" fmla="*/ 355060 h 1554370"/>
                <a:gd name="connsiteX5" fmla="*/ 1127203 w 2547443"/>
                <a:gd name="connsiteY5" fmla="*/ 306422 h 1554370"/>
                <a:gd name="connsiteX6" fmla="*/ 397629 w 2547443"/>
                <a:gd name="connsiteY6" fmla="*/ 1118680 h 1554370"/>
                <a:gd name="connsiteX7" fmla="*/ 378175 w 2547443"/>
                <a:gd name="connsiteY7" fmla="*/ 1420238 h 1554370"/>
                <a:gd name="connsiteX8" fmla="*/ 42569 w 2547443"/>
                <a:gd name="connsiteY8" fmla="*/ 1532106 h 1554370"/>
                <a:gd name="connsiteX9" fmla="*/ 96072 w 2547443"/>
                <a:gd name="connsiteY9" fmla="*/ 982494 h 1554370"/>
                <a:gd name="connsiteX0" fmla="*/ 96072 w 2547443"/>
                <a:gd name="connsiteY0" fmla="*/ 982494 h 1572098"/>
                <a:gd name="connsiteX1" fmla="*/ 986153 w 2547443"/>
                <a:gd name="connsiteY1" fmla="*/ 9727 h 1572098"/>
                <a:gd name="connsiteX2" fmla="*/ 1642770 w 2547443"/>
                <a:gd name="connsiteY2" fmla="*/ 0 h 1572098"/>
                <a:gd name="connsiteX3" fmla="*/ 2547443 w 2547443"/>
                <a:gd name="connsiteY3" fmla="*/ 131323 h 1572098"/>
                <a:gd name="connsiteX4" fmla="*/ 1545493 w 2547443"/>
                <a:gd name="connsiteY4" fmla="*/ 355060 h 1572098"/>
                <a:gd name="connsiteX5" fmla="*/ 1127203 w 2547443"/>
                <a:gd name="connsiteY5" fmla="*/ 306422 h 1572098"/>
                <a:gd name="connsiteX6" fmla="*/ 397629 w 2547443"/>
                <a:gd name="connsiteY6" fmla="*/ 1118680 h 1572098"/>
                <a:gd name="connsiteX7" fmla="*/ 378175 w 2547443"/>
                <a:gd name="connsiteY7" fmla="*/ 1420238 h 1572098"/>
                <a:gd name="connsiteX8" fmla="*/ 246851 w 2547443"/>
                <a:gd name="connsiteY8" fmla="*/ 1517516 h 1572098"/>
                <a:gd name="connsiteX9" fmla="*/ 42569 w 2547443"/>
                <a:gd name="connsiteY9" fmla="*/ 1532106 h 1572098"/>
                <a:gd name="connsiteX10" fmla="*/ 96072 w 2547443"/>
                <a:gd name="connsiteY10" fmla="*/ 982494 h 1572098"/>
                <a:gd name="connsiteX0" fmla="*/ 96072 w 2547443"/>
                <a:gd name="connsiteY0" fmla="*/ 982494 h 2135699"/>
                <a:gd name="connsiteX1" fmla="*/ 986153 w 2547443"/>
                <a:gd name="connsiteY1" fmla="*/ 9727 h 2135699"/>
                <a:gd name="connsiteX2" fmla="*/ 1642770 w 2547443"/>
                <a:gd name="connsiteY2" fmla="*/ 0 h 2135699"/>
                <a:gd name="connsiteX3" fmla="*/ 2547443 w 2547443"/>
                <a:gd name="connsiteY3" fmla="*/ 131323 h 2135699"/>
                <a:gd name="connsiteX4" fmla="*/ 1545493 w 2547443"/>
                <a:gd name="connsiteY4" fmla="*/ 355060 h 2135699"/>
                <a:gd name="connsiteX5" fmla="*/ 1127203 w 2547443"/>
                <a:gd name="connsiteY5" fmla="*/ 306422 h 2135699"/>
                <a:gd name="connsiteX6" fmla="*/ 397629 w 2547443"/>
                <a:gd name="connsiteY6" fmla="*/ 1118680 h 2135699"/>
                <a:gd name="connsiteX7" fmla="*/ 378175 w 2547443"/>
                <a:gd name="connsiteY7" fmla="*/ 1420238 h 2135699"/>
                <a:gd name="connsiteX8" fmla="*/ 694323 w 2547443"/>
                <a:gd name="connsiteY8" fmla="*/ 2135222 h 2135699"/>
                <a:gd name="connsiteX9" fmla="*/ 42569 w 2547443"/>
                <a:gd name="connsiteY9" fmla="*/ 1532106 h 2135699"/>
                <a:gd name="connsiteX10" fmla="*/ 96072 w 2547443"/>
                <a:gd name="connsiteY10" fmla="*/ 982494 h 2135699"/>
                <a:gd name="connsiteX0" fmla="*/ 96072 w 2547443"/>
                <a:gd name="connsiteY0" fmla="*/ 982494 h 2694798"/>
                <a:gd name="connsiteX1" fmla="*/ 986153 w 2547443"/>
                <a:gd name="connsiteY1" fmla="*/ 9727 h 2694798"/>
                <a:gd name="connsiteX2" fmla="*/ 1642770 w 2547443"/>
                <a:gd name="connsiteY2" fmla="*/ 0 h 2694798"/>
                <a:gd name="connsiteX3" fmla="*/ 2547443 w 2547443"/>
                <a:gd name="connsiteY3" fmla="*/ 131323 h 2694798"/>
                <a:gd name="connsiteX4" fmla="*/ 1545493 w 2547443"/>
                <a:gd name="connsiteY4" fmla="*/ 355060 h 2694798"/>
                <a:gd name="connsiteX5" fmla="*/ 1127203 w 2547443"/>
                <a:gd name="connsiteY5" fmla="*/ 306422 h 2694798"/>
                <a:gd name="connsiteX6" fmla="*/ 397629 w 2547443"/>
                <a:gd name="connsiteY6" fmla="*/ 1118680 h 2694798"/>
                <a:gd name="connsiteX7" fmla="*/ 378175 w 2547443"/>
                <a:gd name="connsiteY7" fmla="*/ 1420238 h 2694798"/>
                <a:gd name="connsiteX8" fmla="*/ 694323 w 2547443"/>
                <a:gd name="connsiteY8" fmla="*/ 2694562 h 2694798"/>
                <a:gd name="connsiteX9" fmla="*/ 42569 w 2547443"/>
                <a:gd name="connsiteY9" fmla="*/ 1532106 h 2694798"/>
                <a:gd name="connsiteX10" fmla="*/ 96072 w 2547443"/>
                <a:gd name="connsiteY10" fmla="*/ 982494 h 2694798"/>
                <a:gd name="connsiteX0" fmla="*/ 96072 w 2547443"/>
                <a:gd name="connsiteY0" fmla="*/ 982494 h 2765238"/>
                <a:gd name="connsiteX1" fmla="*/ 986153 w 2547443"/>
                <a:gd name="connsiteY1" fmla="*/ 9727 h 2765238"/>
                <a:gd name="connsiteX2" fmla="*/ 1642770 w 2547443"/>
                <a:gd name="connsiteY2" fmla="*/ 0 h 2765238"/>
                <a:gd name="connsiteX3" fmla="*/ 2547443 w 2547443"/>
                <a:gd name="connsiteY3" fmla="*/ 131323 h 2765238"/>
                <a:gd name="connsiteX4" fmla="*/ 1545493 w 2547443"/>
                <a:gd name="connsiteY4" fmla="*/ 355060 h 2765238"/>
                <a:gd name="connsiteX5" fmla="*/ 1127203 w 2547443"/>
                <a:gd name="connsiteY5" fmla="*/ 306422 h 2765238"/>
                <a:gd name="connsiteX6" fmla="*/ 397629 w 2547443"/>
                <a:gd name="connsiteY6" fmla="*/ 1118680 h 2765238"/>
                <a:gd name="connsiteX7" fmla="*/ 378175 w 2547443"/>
                <a:gd name="connsiteY7" fmla="*/ 1420238 h 2765238"/>
                <a:gd name="connsiteX8" fmla="*/ 660277 w 2547443"/>
                <a:gd name="connsiteY8" fmla="*/ 2504872 h 2765238"/>
                <a:gd name="connsiteX9" fmla="*/ 694323 w 2547443"/>
                <a:gd name="connsiteY9" fmla="*/ 2694562 h 2765238"/>
                <a:gd name="connsiteX10" fmla="*/ 42569 w 2547443"/>
                <a:gd name="connsiteY10" fmla="*/ 1532106 h 2765238"/>
                <a:gd name="connsiteX11" fmla="*/ 96072 w 2547443"/>
                <a:gd name="connsiteY11" fmla="*/ 982494 h 2765238"/>
                <a:gd name="connsiteX0" fmla="*/ 96072 w 2547443"/>
                <a:gd name="connsiteY0" fmla="*/ 982494 h 2765238"/>
                <a:gd name="connsiteX1" fmla="*/ 986153 w 2547443"/>
                <a:gd name="connsiteY1" fmla="*/ 9727 h 2765238"/>
                <a:gd name="connsiteX2" fmla="*/ 1642770 w 2547443"/>
                <a:gd name="connsiteY2" fmla="*/ 0 h 2765238"/>
                <a:gd name="connsiteX3" fmla="*/ 2547443 w 2547443"/>
                <a:gd name="connsiteY3" fmla="*/ 131323 h 2765238"/>
                <a:gd name="connsiteX4" fmla="*/ 1545493 w 2547443"/>
                <a:gd name="connsiteY4" fmla="*/ 355060 h 2765238"/>
                <a:gd name="connsiteX5" fmla="*/ 1127203 w 2547443"/>
                <a:gd name="connsiteY5" fmla="*/ 306422 h 2765238"/>
                <a:gd name="connsiteX6" fmla="*/ 397629 w 2547443"/>
                <a:gd name="connsiteY6" fmla="*/ 1118680 h 2765238"/>
                <a:gd name="connsiteX7" fmla="*/ 378175 w 2547443"/>
                <a:gd name="connsiteY7" fmla="*/ 1420238 h 2765238"/>
                <a:gd name="connsiteX8" fmla="*/ 913196 w 2547443"/>
                <a:gd name="connsiteY8" fmla="*/ 2504872 h 2765238"/>
                <a:gd name="connsiteX9" fmla="*/ 694323 w 2547443"/>
                <a:gd name="connsiteY9" fmla="*/ 2694562 h 2765238"/>
                <a:gd name="connsiteX10" fmla="*/ 42569 w 2547443"/>
                <a:gd name="connsiteY10" fmla="*/ 1532106 h 2765238"/>
                <a:gd name="connsiteX11" fmla="*/ 96072 w 2547443"/>
                <a:gd name="connsiteY11" fmla="*/ 982494 h 2765238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621366 w 2547443"/>
                <a:gd name="connsiteY8" fmla="*/ 192121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569 w 2547443"/>
                <a:gd name="connsiteY11" fmla="*/ 1532106 h 2751446"/>
                <a:gd name="connsiteX12" fmla="*/ 96072 w 2547443"/>
                <a:gd name="connsiteY12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569 w 2547443"/>
                <a:gd name="connsiteY11" fmla="*/ 1532106 h 2751446"/>
                <a:gd name="connsiteX12" fmla="*/ 96072 w 2547443"/>
                <a:gd name="connsiteY12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569 w 2547443"/>
                <a:gd name="connsiteY11" fmla="*/ 1532106 h 2751446"/>
                <a:gd name="connsiteX12" fmla="*/ 96072 w 2547443"/>
                <a:gd name="connsiteY12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569 w 2547443"/>
                <a:gd name="connsiteY11" fmla="*/ 1532106 h 2751446"/>
                <a:gd name="connsiteX12" fmla="*/ 96072 w 2547443"/>
                <a:gd name="connsiteY12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569 w 2547443"/>
                <a:gd name="connsiteY11" fmla="*/ 1532106 h 2751446"/>
                <a:gd name="connsiteX12" fmla="*/ 96072 w 2547443"/>
                <a:gd name="connsiteY12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383039 w 2547443"/>
                <a:gd name="connsiteY11" fmla="*/ 2178995 h 2751446"/>
                <a:gd name="connsiteX12" fmla="*/ 42569 w 2547443"/>
                <a:gd name="connsiteY12" fmla="*/ 1532106 h 2751446"/>
                <a:gd name="connsiteX13" fmla="*/ 96072 w 2547443"/>
                <a:gd name="connsiteY13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6814 w 2547443"/>
                <a:gd name="connsiteY11" fmla="*/ 1969851 h 2751446"/>
                <a:gd name="connsiteX12" fmla="*/ 42569 w 2547443"/>
                <a:gd name="connsiteY12" fmla="*/ 1532106 h 2751446"/>
                <a:gd name="connsiteX13" fmla="*/ 96072 w 2547443"/>
                <a:gd name="connsiteY13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6814 w 2547443"/>
                <a:gd name="connsiteY11" fmla="*/ 1969851 h 2751446"/>
                <a:gd name="connsiteX12" fmla="*/ 42569 w 2547443"/>
                <a:gd name="connsiteY12" fmla="*/ 1532106 h 2751446"/>
                <a:gd name="connsiteX13" fmla="*/ 96072 w 2547443"/>
                <a:gd name="connsiteY13" fmla="*/ 982494 h 2751446"/>
                <a:gd name="connsiteX0" fmla="*/ 96072 w 2547443"/>
                <a:gd name="connsiteY0" fmla="*/ 982494 h 2751446"/>
                <a:gd name="connsiteX1" fmla="*/ 986153 w 2547443"/>
                <a:gd name="connsiteY1" fmla="*/ 9727 h 2751446"/>
                <a:gd name="connsiteX2" fmla="*/ 1642770 w 2547443"/>
                <a:gd name="connsiteY2" fmla="*/ 0 h 2751446"/>
                <a:gd name="connsiteX3" fmla="*/ 2547443 w 2547443"/>
                <a:gd name="connsiteY3" fmla="*/ 131323 h 2751446"/>
                <a:gd name="connsiteX4" fmla="*/ 1545493 w 2547443"/>
                <a:gd name="connsiteY4" fmla="*/ 355060 h 2751446"/>
                <a:gd name="connsiteX5" fmla="*/ 1127203 w 2547443"/>
                <a:gd name="connsiteY5" fmla="*/ 306422 h 2751446"/>
                <a:gd name="connsiteX6" fmla="*/ 397629 w 2547443"/>
                <a:gd name="connsiteY6" fmla="*/ 1118680 h 2751446"/>
                <a:gd name="connsiteX7" fmla="*/ 378175 w 2547443"/>
                <a:gd name="connsiteY7" fmla="*/ 1420238 h 2751446"/>
                <a:gd name="connsiteX8" fmla="*/ 738098 w 2547443"/>
                <a:gd name="connsiteY8" fmla="*/ 1819072 h 2751446"/>
                <a:gd name="connsiteX9" fmla="*/ 913196 w 2547443"/>
                <a:gd name="connsiteY9" fmla="*/ 2504872 h 2751446"/>
                <a:gd name="connsiteX10" fmla="*/ 694323 w 2547443"/>
                <a:gd name="connsiteY10" fmla="*/ 2694562 h 2751446"/>
                <a:gd name="connsiteX11" fmla="*/ 426814 w 2547443"/>
                <a:gd name="connsiteY11" fmla="*/ 1969851 h 2751446"/>
                <a:gd name="connsiteX12" fmla="*/ 42569 w 2547443"/>
                <a:gd name="connsiteY12" fmla="*/ 1532106 h 2751446"/>
                <a:gd name="connsiteX13" fmla="*/ 96072 w 2547443"/>
                <a:gd name="connsiteY13" fmla="*/ 982494 h 2751446"/>
                <a:gd name="connsiteX0" fmla="*/ 99995 w 2551366"/>
                <a:gd name="connsiteY0" fmla="*/ 982494 h 2751446"/>
                <a:gd name="connsiteX1" fmla="*/ 990076 w 2551366"/>
                <a:gd name="connsiteY1" fmla="*/ 9727 h 2751446"/>
                <a:gd name="connsiteX2" fmla="*/ 1646693 w 2551366"/>
                <a:gd name="connsiteY2" fmla="*/ 0 h 2751446"/>
                <a:gd name="connsiteX3" fmla="*/ 2551366 w 2551366"/>
                <a:gd name="connsiteY3" fmla="*/ 131323 h 2751446"/>
                <a:gd name="connsiteX4" fmla="*/ 1549416 w 2551366"/>
                <a:gd name="connsiteY4" fmla="*/ 355060 h 2751446"/>
                <a:gd name="connsiteX5" fmla="*/ 1131126 w 2551366"/>
                <a:gd name="connsiteY5" fmla="*/ 306422 h 2751446"/>
                <a:gd name="connsiteX6" fmla="*/ 401552 w 2551366"/>
                <a:gd name="connsiteY6" fmla="*/ 1118680 h 2751446"/>
                <a:gd name="connsiteX7" fmla="*/ 382098 w 2551366"/>
                <a:gd name="connsiteY7" fmla="*/ 1420238 h 2751446"/>
                <a:gd name="connsiteX8" fmla="*/ 742021 w 2551366"/>
                <a:gd name="connsiteY8" fmla="*/ 1819072 h 2751446"/>
                <a:gd name="connsiteX9" fmla="*/ 917119 w 2551366"/>
                <a:gd name="connsiteY9" fmla="*/ 2504872 h 2751446"/>
                <a:gd name="connsiteX10" fmla="*/ 698246 w 2551366"/>
                <a:gd name="connsiteY10" fmla="*/ 2694562 h 2751446"/>
                <a:gd name="connsiteX11" fmla="*/ 430737 w 2551366"/>
                <a:gd name="connsiteY11" fmla="*/ 1969851 h 2751446"/>
                <a:gd name="connsiteX12" fmla="*/ 41628 w 2551366"/>
                <a:gd name="connsiteY12" fmla="*/ 1493195 h 2751446"/>
                <a:gd name="connsiteX13" fmla="*/ 99995 w 2551366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47743 w 2568372"/>
                <a:gd name="connsiteY11" fmla="*/ 1969851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47743 w 2568372"/>
                <a:gd name="connsiteY11" fmla="*/ 1969851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72062 w 2568372"/>
                <a:gd name="connsiteY11" fmla="*/ 1935804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72062 w 2568372"/>
                <a:gd name="connsiteY11" fmla="*/ 1935804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52606 w 2568372"/>
                <a:gd name="connsiteY11" fmla="*/ 1935804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52606 w 2568372"/>
                <a:gd name="connsiteY11" fmla="*/ 1935804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51446"/>
                <a:gd name="connsiteX1" fmla="*/ 1007082 w 2568372"/>
                <a:gd name="connsiteY1" fmla="*/ 9727 h 2751446"/>
                <a:gd name="connsiteX2" fmla="*/ 1663699 w 2568372"/>
                <a:gd name="connsiteY2" fmla="*/ 0 h 2751446"/>
                <a:gd name="connsiteX3" fmla="*/ 2568372 w 2568372"/>
                <a:gd name="connsiteY3" fmla="*/ 131323 h 2751446"/>
                <a:gd name="connsiteX4" fmla="*/ 1566422 w 2568372"/>
                <a:gd name="connsiteY4" fmla="*/ 355060 h 2751446"/>
                <a:gd name="connsiteX5" fmla="*/ 1148132 w 2568372"/>
                <a:gd name="connsiteY5" fmla="*/ 306422 h 2751446"/>
                <a:gd name="connsiteX6" fmla="*/ 418558 w 2568372"/>
                <a:gd name="connsiteY6" fmla="*/ 1118680 h 2751446"/>
                <a:gd name="connsiteX7" fmla="*/ 399104 w 2568372"/>
                <a:gd name="connsiteY7" fmla="*/ 1420238 h 2751446"/>
                <a:gd name="connsiteX8" fmla="*/ 759027 w 2568372"/>
                <a:gd name="connsiteY8" fmla="*/ 1819072 h 2751446"/>
                <a:gd name="connsiteX9" fmla="*/ 934125 w 2568372"/>
                <a:gd name="connsiteY9" fmla="*/ 2504872 h 2751446"/>
                <a:gd name="connsiteX10" fmla="*/ 715252 w 2568372"/>
                <a:gd name="connsiteY10" fmla="*/ 2694562 h 2751446"/>
                <a:gd name="connsiteX11" fmla="*/ 452606 w 2568372"/>
                <a:gd name="connsiteY11" fmla="*/ 1935804 h 2751446"/>
                <a:gd name="connsiteX12" fmla="*/ 58634 w 2568372"/>
                <a:gd name="connsiteY12" fmla="*/ 1493195 h 2751446"/>
                <a:gd name="connsiteX13" fmla="*/ 117001 w 2568372"/>
                <a:gd name="connsiteY13" fmla="*/ 982494 h 2751446"/>
                <a:gd name="connsiteX0" fmla="*/ 117001 w 2568372"/>
                <a:gd name="connsiteY0" fmla="*/ 982494 h 2708634"/>
                <a:gd name="connsiteX1" fmla="*/ 1007082 w 2568372"/>
                <a:gd name="connsiteY1" fmla="*/ 9727 h 2708634"/>
                <a:gd name="connsiteX2" fmla="*/ 1663699 w 2568372"/>
                <a:gd name="connsiteY2" fmla="*/ 0 h 2708634"/>
                <a:gd name="connsiteX3" fmla="*/ 2568372 w 2568372"/>
                <a:gd name="connsiteY3" fmla="*/ 131323 h 2708634"/>
                <a:gd name="connsiteX4" fmla="*/ 1566422 w 2568372"/>
                <a:gd name="connsiteY4" fmla="*/ 355060 h 2708634"/>
                <a:gd name="connsiteX5" fmla="*/ 1148132 w 2568372"/>
                <a:gd name="connsiteY5" fmla="*/ 306422 h 2708634"/>
                <a:gd name="connsiteX6" fmla="*/ 418558 w 2568372"/>
                <a:gd name="connsiteY6" fmla="*/ 1118680 h 2708634"/>
                <a:gd name="connsiteX7" fmla="*/ 399104 w 2568372"/>
                <a:gd name="connsiteY7" fmla="*/ 1420238 h 2708634"/>
                <a:gd name="connsiteX8" fmla="*/ 759027 w 2568372"/>
                <a:gd name="connsiteY8" fmla="*/ 1819072 h 2708634"/>
                <a:gd name="connsiteX9" fmla="*/ 934125 w 2568372"/>
                <a:gd name="connsiteY9" fmla="*/ 2504872 h 2708634"/>
                <a:gd name="connsiteX10" fmla="*/ 715252 w 2568372"/>
                <a:gd name="connsiteY10" fmla="*/ 2694562 h 2708634"/>
                <a:gd name="connsiteX11" fmla="*/ 452606 w 2568372"/>
                <a:gd name="connsiteY11" fmla="*/ 1935804 h 2708634"/>
                <a:gd name="connsiteX12" fmla="*/ 58634 w 2568372"/>
                <a:gd name="connsiteY12" fmla="*/ 1493195 h 2708634"/>
                <a:gd name="connsiteX13" fmla="*/ 117001 w 2568372"/>
                <a:gd name="connsiteY13" fmla="*/ 982494 h 2708634"/>
                <a:gd name="connsiteX0" fmla="*/ 117001 w 2568372"/>
                <a:gd name="connsiteY0" fmla="*/ 982494 h 2705878"/>
                <a:gd name="connsiteX1" fmla="*/ 1007082 w 2568372"/>
                <a:gd name="connsiteY1" fmla="*/ 9727 h 2705878"/>
                <a:gd name="connsiteX2" fmla="*/ 1663699 w 2568372"/>
                <a:gd name="connsiteY2" fmla="*/ 0 h 2705878"/>
                <a:gd name="connsiteX3" fmla="*/ 2568372 w 2568372"/>
                <a:gd name="connsiteY3" fmla="*/ 131323 h 2705878"/>
                <a:gd name="connsiteX4" fmla="*/ 1566422 w 2568372"/>
                <a:gd name="connsiteY4" fmla="*/ 355060 h 2705878"/>
                <a:gd name="connsiteX5" fmla="*/ 1148132 w 2568372"/>
                <a:gd name="connsiteY5" fmla="*/ 306422 h 2705878"/>
                <a:gd name="connsiteX6" fmla="*/ 418558 w 2568372"/>
                <a:gd name="connsiteY6" fmla="*/ 1118680 h 2705878"/>
                <a:gd name="connsiteX7" fmla="*/ 399104 w 2568372"/>
                <a:gd name="connsiteY7" fmla="*/ 1420238 h 2705878"/>
                <a:gd name="connsiteX8" fmla="*/ 759027 w 2568372"/>
                <a:gd name="connsiteY8" fmla="*/ 1819072 h 2705878"/>
                <a:gd name="connsiteX9" fmla="*/ 934125 w 2568372"/>
                <a:gd name="connsiteY9" fmla="*/ 2504872 h 2705878"/>
                <a:gd name="connsiteX10" fmla="*/ 715252 w 2568372"/>
                <a:gd name="connsiteY10" fmla="*/ 2694562 h 2705878"/>
                <a:gd name="connsiteX11" fmla="*/ 452606 w 2568372"/>
                <a:gd name="connsiteY11" fmla="*/ 1935804 h 2705878"/>
                <a:gd name="connsiteX12" fmla="*/ 58634 w 2568372"/>
                <a:gd name="connsiteY12" fmla="*/ 1493195 h 2705878"/>
                <a:gd name="connsiteX13" fmla="*/ 117001 w 2568372"/>
                <a:gd name="connsiteY13" fmla="*/ 982494 h 2705878"/>
                <a:gd name="connsiteX0" fmla="*/ 117001 w 2568372"/>
                <a:gd name="connsiteY0" fmla="*/ 982494 h 2705878"/>
                <a:gd name="connsiteX1" fmla="*/ 1007082 w 2568372"/>
                <a:gd name="connsiteY1" fmla="*/ 9727 h 2705878"/>
                <a:gd name="connsiteX2" fmla="*/ 1663699 w 2568372"/>
                <a:gd name="connsiteY2" fmla="*/ 0 h 2705878"/>
                <a:gd name="connsiteX3" fmla="*/ 2568372 w 2568372"/>
                <a:gd name="connsiteY3" fmla="*/ 131323 h 2705878"/>
                <a:gd name="connsiteX4" fmla="*/ 1566422 w 2568372"/>
                <a:gd name="connsiteY4" fmla="*/ 355060 h 2705878"/>
                <a:gd name="connsiteX5" fmla="*/ 1148132 w 2568372"/>
                <a:gd name="connsiteY5" fmla="*/ 306422 h 2705878"/>
                <a:gd name="connsiteX6" fmla="*/ 418558 w 2568372"/>
                <a:gd name="connsiteY6" fmla="*/ 1118680 h 2705878"/>
                <a:gd name="connsiteX7" fmla="*/ 399104 w 2568372"/>
                <a:gd name="connsiteY7" fmla="*/ 1420238 h 2705878"/>
                <a:gd name="connsiteX8" fmla="*/ 768755 w 2568372"/>
                <a:gd name="connsiteY8" fmla="*/ 1809344 h 2705878"/>
                <a:gd name="connsiteX9" fmla="*/ 934125 w 2568372"/>
                <a:gd name="connsiteY9" fmla="*/ 2504872 h 2705878"/>
                <a:gd name="connsiteX10" fmla="*/ 715252 w 2568372"/>
                <a:gd name="connsiteY10" fmla="*/ 2694562 h 2705878"/>
                <a:gd name="connsiteX11" fmla="*/ 452606 w 2568372"/>
                <a:gd name="connsiteY11" fmla="*/ 1935804 h 2705878"/>
                <a:gd name="connsiteX12" fmla="*/ 58634 w 2568372"/>
                <a:gd name="connsiteY12" fmla="*/ 1493195 h 2705878"/>
                <a:gd name="connsiteX13" fmla="*/ 117001 w 2568372"/>
                <a:gd name="connsiteY13" fmla="*/ 982494 h 2705878"/>
                <a:gd name="connsiteX0" fmla="*/ 117001 w 2568372"/>
                <a:gd name="connsiteY0" fmla="*/ 982494 h 2705878"/>
                <a:gd name="connsiteX1" fmla="*/ 1007082 w 2568372"/>
                <a:gd name="connsiteY1" fmla="*/ 9727 h 2705878"/>
                <a:gd name="connsiteX2" fmla="*/ 1663699 w 2568372"/>
                <a:gd name="connsiteY2" fmla="*/ 0 h 2705878"/>
                <a:gd name="connsiteX3" fmla="*/ 2568372 w 2568372"/>
                <a:gd name="connsiteY3" fmla="*/ 131323 h 2705878"/>
                <a:gd name="connsiteX4" fmla="*/ 1566422 w 2568372"/>
                <a:gd name="connsiteY4" fmla="*/ 355060 h 2705878"/>
                <a:gd name="connsiteX5" fmla="*/ 1148132 w 2568372"/>
                <a:gd name="connsiteY5" fmla="*/ 306422 h 2705878"/>
                <a:gd name="connsiteX6" fmla="*/ 418558 w 2568372"/>
                <a:gd name="connsiteY6" fmla="*/ 1118680 h 2705878"/>
                <a:gd name="connsiteX7" fmla="*/ 399104 w 2568372"/>
                <a:gd name="connsiteY7" fmla="*/ 1420238 h 2705878"/>
                <a:gd name="connsiteX8" fmla="*/ 768755 w 2568372"/>
                <a:gd name="connsiteY8" fmla="*/ 1809344 h 2705878"/>
                <a:gd name="connsiteX9" fmla="*/ 934125 w 2568372"/>
                <a:gd name="connsiteY9" fmla="*/ 2504872 h 2705878"/>
                <a:gd name="connsiteX10" fmla="*/ 715252 w 2568372"/>
                <a:gd name="connsiteY10" fmla="*/ 2694562 h 2705878"/>
                <a:gd name="connsiteX11" fmla="*/ 452606 w 2568372"/>
                <a:gd name="connsiteY11" fmla="*/ 1935804 h 2705878"/>
                <a:gd name="connsiteX12" fmla="*/ 58634 w 2568372"/>
                <a:gd name="connsiteY12" fmla="*/ 1493195 h 2705878"/>
                <a:gd name="connsiteX13" fmla="*/ 117001 w 2568372"/>
                <a:gd name="connsiteY13" fmla="*/ 982494 h 2705878"/>
                <a:gd name="connsiteX0" fmla="*/ 117001 w 2568372"/>
                <a:gd name="connsiteY0" fmla="*/ 982494 h 2705878"/>
                <a:gd name="connsiteX1" fmla="*/ 1007082 w 2568372"/>
                <a:gd name="connsiteY1" fmla="*/ 9727 h 2705878"/>
                <a:gd name="connsiteX2" fmla="*/ 1663699 w 2568372"/>
                <a:gd name="connsiteY2" fmla="*/ 0 h 2705878"/>
                <a:gd name="connsiteX3" fmla="*/ 2568372 w 2568372"/>
                <a:gd name="connsiteY3" fmla="*/ 131323 h 2705878"/>
                <a:gd name="connsiteX4" fmla="*/ 1566422 w 2568372"/>
                <a:gd name="connsiteY4" fmla="*/ 355060 h 2705878"/>
                <a:gd name="connsiteX5" fmla="*/ 1148132 w 2568372"/>
                <a:gd name="connsiteY5" fmla="*/ 306422 h 2705878"/>
                <a:gd name="connsiteX6" fmla="*/ 418558 w 2568372"/>
                <a:gd name="connsiteY6" fmla="*/ 1118680 h 2705878"/>
                <a:gd name="connsiteX7" fmla="*/ 399104 w 2568372"/>
                <a:gd name="connsiteY7" fmla="*/ 1420238 h 2705878"/>
                <a:gd name="connsiteX8" fmla="*/ 768755 w 2568372"/>
                <a:gd name="connsiteY8" fmla="*/ 1809344 h 2705878"/>
                <a:gd name="connsiteX9" fmla="*/ 934125 w 2568372"/>
                <a:gd name="connsiteY9" fmla="*/ 2504872 h 2705878"/>
                <a:gd name="connsiteX10" fmla="*/ 715252 w 2568372"/>
                <a:gd name="connsiteY10" fmla="*/ 2694562 h 2705878"/>
                <a:gd name="connsiteX11" fmla="*/ 452606 w 2568372"/>
                <a:gd name="connsiteY11" fmla="*/ 1935804 h 2705878"/>
                <a:gd name="connsiteX12" fmla="*/ 58634 w 2568372"/>
                <a:gd name="connsiteY12" fmla="*/ 1493195 h 2705878"/>
                <a:gd name="connsiteX13" fmla="*/ 117001 w 2568372"/>
                <a:gd name="connsiteY13" fmla="*/ 982494 h 2705878"/>
                <a:gd name="connsiteX0" fmla="*/ 117001 w 2568372"/>
                <a:gd name="connsiteY0" fmla="*/ 1079805 h 2803189"/>
                <a:gd name="connsiteX1" fmla="*/ 1007082 w 2568372"/>
                <a:gd name="connsiteY1" fmla="*/ 107038 h 2803189"/>
                <a:gd name="connsiteX2" fmla="*/ 1663699 w 2568372"/>
                <a:gd name="connsiteY2" fmla="*/ 97311 h 2803189"/>
                <a:gd name="connsiteX3" fmla="*/ 2568372 w 2568372"/>
                <a:gd name="connsiteY3" fmla="*/ 228634 h 2803189"/>
                <a:gd name="connsiteX4" fmla="*/ 1566422 w 2568372"/>
                <a:gd name="connsiteY4" fmla="*/ 452371 h 2803189"/>
                <a:gd name="connsiteX5" fmla="*/ 1148132 w 2568372"/>
                <a:gd name="connsiteY5" fmla="*/ 403733 h 2803189"/>
                <a:gd name="connsiteX6" fmla="*/ 418558 w 2568372"/>
                <a:gd name="connsiteY6" fmla="*/ 1215991 h 2803189"/>
                <a:gd name="connsiteX7" fmla="*/ 399104 w 2568372"/>
                <a:gd name="connsiteY7" fmla="*/ 1517549 h 2803189"/>
                <a:gd name="connsiteX8" fmla="*/ 768755 w 2568372"/>
                <a:gd name="connsiteY8" fmla="*/ 1906655 h 2803189"/>
                <a:gd name="connsiteX9" fmla="*/ 934125 w 2568372"/>
                <a:gd name="connsiteY9" fmla="*/ 2602183 h 2803189"/>
                <a:gd name="connsiteX10" fmla="*/ 715252 w 2568372"/>
                <a:gd name="connsiteY10" fmla="*/ 2791873 h 2803189"/>
                <a:gd name="connsiteX11" fmla="*/ 452606 w 2568372"/>
                <a:gd name="connsiteY11" fmla="*/ 2033115 h 2803189"/>
                <a:gd name="connsiteX12" fmla="*/ 58634 w 2568372"/>
                <a:gd name="connsiteY12" fmla="*/ 1590506 h 2803189"/>
                <a:gd name="connsiteX13" fmla="*/ 117001 w 2568372"/>
                <a:gd name="connsiteY13" fmla="*/ 1079805 h 2803189"/>
                <a:gd name="connsiteX0" fmla="*/ 117001 w 2568372"/>
                <a:gd name="connsiteY0" fmla="*/ 1091839 h 2815223"/>
                <a:gd name="connsiteX1" fmla="*/ 1007082 w 2568372"/>
                <a:gd name="connsiteY1" fmla="*/ 119072 h 2815223"/>
                <a:gd name="connsiteX2" fmla="*/ 1663699 w 2568372"/>
                <a:gd name="connsiteY2" fmla="*/ 109345 h 2815223"/>
                <a:gd name="connsiteX3" fmla="*/ 2568372 w 2568372"/>
                <a:gd name="connsiteY3" fmla="*/ 240668 h 2815223"/>
                <a:gd name="connsiteX4" fmla="*/ 1566422 w 2568372"/>
                <a:gd name="connsiteY4" fmla="*/ 464405 h 2815223"/>
                <a:gd name="connsiteX5" fmla="*/ 1148132 w 2568372"/>
                <a:gd name="connsiteY5" fmla="*/ 415767 h 2815223"/>
                <a:gd name="connsiteX6" fmla="*/ 418558 w 2568372"/>
                <a:gd name="connsiteY6" fmla="*/ 1228025 h 2815223"/>
                <a:gd name="connsiteX7" fmla="*/ 399104 w 2568372"/>
                <a:gd name="connsiteY7" fmla="*/ 1529583 h 2815223"/>
                <a:gd name="connsiteX8" fmla="*/ 768755 w 2568372"/>
                <a:gd name="connsiteY8" fmla="*/ 1918689 h 2815223"/>
                <a:gd name="connsiteX9" fmla="*/ 934125 w 2568372"/>
                <a:gd name="connsiteY9" fmla="*/ 2614217 h 2815223"/>
                <a:gd name="connsiteX10" fmla="*/ 715252 w 2568372"/>
                <a:gd name="connsiteY10" fmla="*/ 2803907 h 2815223"/>
                <a:gd name="connsiteX11" fmla="*/ 452606 w 2568372"/>
                <a:gd name="connsiteY11" fmla="*/ 2045149 h 2815223"/>
                <a:gd name="connsiteX12" fmla="*/ 58634 w 2568372"/>
                <a:gd name="connsiteY12" fmla="*/ 1602540 h 2815223"/>
                <a:gd name="connsiteX13" fmla="*/ 117001 w 2568372"/>
                <a:gd name="connsiteY13" fmla="*/ 1091839 h 2815223"/>
                <a:gd name="connsiteX0" fmla="*/ 117001 w 2568372"/>
                <a:gd name="connsiteY0" fmla="*/ 1091839 h 2815223"/>
                <a:gd name="connsiteX1" fmla="*/ 1007082 w 2568372"/>
                <a:gd name="connsiteY1" fmla="*/ 119072 h 2815223"/>
                <a:gd name="connsiteX2" fmla="*/ 1663699 w 2568372"/>
                <a:gd name="connsiteY2" fmla="*/ 109345 h 2815223"/>
                <a:gd name="connsiteX3" fmla="*/ 2568372 w 2568372"/>
                <a:gd name="connsiteY3" fmla="*/ 240668 h 2815223"/>
                <a:gd name="connsiteX4" fmla="*/ 1566422 w 2568372"/>
                <a:gd name="connsiteY4" fmla="*/ 464405 h 2815223"/>
                <a:gd name="connsiteX5" fmla="*/ 1148132 w 2568372"/>
                <a:gd name="connsiteY5" fmla="*/ 415767 h 2815223"/>
                <a:gd name="connsiteX6" fmla="*/ 418558 w 2568372"/>
                <a:gd name="connsiteY6" fmla="*/ 1228025 h 2815223"/>
                <a:gd name="connsiteX7" fmla="*/ 399104 w 2568372"/>
                <a:gd name="connsiteY7" fmla="*/ 1529583 h 2815223"/>
                <a:gd name="connsiteX8" fmla="*/ 768755 w 2568372"/>
                <a:gd name="connsiteY8" fmla="*/ 1918689 h 2815223"/>
                <a:gd name="connsiteX9" fmla="*/ 934125 w 2568372"/>
                <a:gd name="connsiteY9" fmla="*/ 2614217 h 2815223"/>
                <a:gd name="connsiteX10" fmla="*/ 715252 w 2568372"/>
                <a:gd name="connsiteY10" fmla="*/ 2803907 h 2815223"/>
                <a:gd name="connsiteX11" fmla="*/ 452606 w 2568372"/>
                <a:gd name="connsiteY11" fmla="*/ 2045149 h 2815223"/>
                <a:gd name="connsiteX12" fmla="*/ 58634 w 2568372"/>
                <a:gd name="connsiteY12" fmla="*/ 1602540 h 2815223"/>
                <a:gd name="connsiteX13" fmla="*/ 117001 w 2568372"/>
                <a:gd name="connsiteY13" fmla="*/ 1091839 h 2815223"/>
                <a:gd name="connsiteX0" fmla="*/ 117001 w 2568372"/>
                <a:gd name="connsiteY0" fmla="*/ 1091839 h 2815223"/>
                <a:gd name="connsiteX1" fmla="*/ 1007082 w 2568372"/>
                <a:gd name="connsiteY1" fmla="*/ 119072 h 2815223"/>
                <a:gd name="connsiteX2" fmla="*/ 1663699 w 2568372"/>
                <a:gd name="connsiteY2" fmla="*/ 109345 h 2815223"/>
                <a:gd name="connsiteX3" fmla="*/ 2568372 w 2568372"/>
                <a:gd name="connsiteY3" fmla="*/ 240668 h 2815223"/>
                <a:gd name="connsiteX4" fmla="*/ 1566422 w 2568372"/>
                <a:gd name="connsiteY4" fmla="*/ 464405 h 2815223"/>
                <a:gd name="connsiteX5" fmla="*/ 1148132 w 2568372"/>
                <a:gd name="connsiteY5" fmla="*/ 415767 h 2815223"/>
                <a:gd name="connsiteX6" fmla="*/ 418558 w 2568372"/>
                <a:gd name="connsiteY6" fmla="*/ 1228025 h 2815223"/>
                <a:gd name="connsiteX7" fmla="*/ 399104 w 2568372"/>
                <a:gd name="connsiteY7" fmla="*/ 1529583 h 2815223"/>
                <a:gd name="connsiteX8" fmla="*/ 768755 w 2568372"/>
                <a:gd name="connsiteY8" fmla="*/ 1918689 h 2815223"/>
                <a:gd name="connsiteX9" fmla="*/ 934125 w 2568372"/>
                <a:gd name="connsiteY9" fmla="*/ 2614217 h 2815223"/>
                <a:gd name="connsiteX10" fmla="*/ 715252 w 2568372"/>
                <a:gd name="connsiteY10" fmla="*/ 2803907 h 2815223"/>
                <a:gd name="connsiteX11" fmla="*/ 452606 w 2568372"/>
                <a:gd name="connsiteY11" fmla="*/ 2045149 h 2815223"/>
                <a:gd name="connsiteX12" fmla="*/ 58634 w 2568372"/>
                <a:gd name="connsiteY12" fmla="*/ 1602540 h 2815223"/>
                <a:gd name="connsiteX13" fmla="*/ 117001 w 2568372"/>
                <a:gd name="connsiteY13" fmla="*/ 1091839 h 2815223"/>
                <a:gd name="connsiteX0" fmla="*/ 117001 w 2568372"/>
                <a:gd name="connsiteY0" fmla="*/ 1091839 h 2815223"/>
                <a:gd name="connsiteX1" fmla="*/ 1007082 w 2568372"/>
                <a:gd name="connsiteY1" fmla="*/ 119072 h 2815223"/>
                <a:gd name="connsiteX2" fmla="*/ 1663699 w 2568372"/>
                <a:gd name="connsiteY2" fmla="*/ 109345 h 2815223"/>
                <a:gd name="connsiteX3" fmla="*/ 2568372 w 2568372"/>
                <a:gd name="connsiteY3" fmla="*/ 240668 h 2815223"/>
                <a:gd name="connsiteX4" fmla="*/ 1566422 w 2568372"/>
                <a:gd name="connsiteY4" fmla="*/ 464405 h 2815223"/>
                <a:gd name="connsiteX5" fmla="*/ 1148132 w 2568372"/>
                <a:gd name="connsiteY5" fmla="*/ 415767 h 2815223"/>
                <a:gd name="connsiteX6" fmla="*/ 418558 w 2568372"/>
                <a:gd name="connsiteY6" fmla="*/ 1228025 h 2815223"/>
                <a:gd name="connsiteX7" fmla="*/ 399104 w 2568372"/>
                <a:gd name="connsiteY7" fmla="*/ 1529583 h 2815223"/>
                <a:gd name="connsiteX8" fmla="*/ 768755 w 2568372"/>
                <a:gd name="connsiteY8" fmla="*/ 1918689 h 2815223"/>
                <a:gd name="connsiteX9" fmla="*/ 934125 w 2568372"/>
                <a:gd name="connsiteY9" fmla="*/ 2614217 h 2815223"/>
                <a:gd name="connsiteX10" fmla="*/ 715252 w 2568372"/>
                <a:gd name="connsiteY10" fmla="*/ 2803907 h 2815223"/>
                <a:gd name="connsiteX11" fmla="*/ 452606 w 2568372"/>
                <a:gd name="connsiteY11" fmla="*/ 2045149 h 2815223"/>
                <a:gd name="connsiteX12" fmla="*/ 58634 w 2568372"/>
                <a:gd name="connsiteY12" fmla="*/ 1602540 h 2815223"/>
                <a:gd name="connsiteX13" fmla="*/ 117001 w 2568372"/>
                <a:gd name="connsiteY13" fmla="*/ 1091839 h 2815223"/>
                <a:gd name="connsiteX0" fmla="*/ 117001 w 2568372"/>
                <a:gd name="connsiteY0" fmla="*/ 1091839 h 2815223"/>
                <a:gd name="connsiteX1" fmla="*/ 1007082 w 2568372"/>
                <a:gd name="connsiteY1" fmla="*/ 119072 h 2815223"/>
                <a:gd name="connsiteX2" fmla="*/ 1663699 w 2568372"/>
                <a:gd name="connsiteY2" fmla="*/ 109345 h 2815223"/>
                <a:gd name="connsiteX3" fmla="*/ 2568372 w 2568372"/>
                <a:gd name="connsiteY3" fmla="*/ 240668 h 2815223"/>
                <a:gd name="connsiteX4" fmla="*/ 1566422 w 2568372"/>
                <a:gd name="connsiteY4" fmla="*/ 464405 h 2815223"/>
                <a:gd name="connsiteX5" fmla="*/ 1148132 w 2568372"/>
                <a:gd name="connsiteY5" fmla="*/ 415767 h 2815223"/>
                <a:gd name="connsiteX6" fmla="*/ 418558 w 2568372"/>
                <a:gd name="connsiteY6" fmla="*/ 1228025 h 2815223"/>
                <a:gd name="connsiteX7" fmla="*/ 399104 w 2568372"/>
                <a:gd name="connsiteY7" fmla="*/ 1529583 h 2815223"/>
                <a:gd name="connsiteX8" fmla="*/ 768755 w 2568372"/>
                <a:gd name="connsiteY8" fmla="*/ 1918689 h 2815223"/>
                <a:gd name="connsiteX9" fmla="*/ 934125 w 2568372"/>
                <a:gd name="connsiteY9" fmla="*/ 2614217 h 2815223"/>
                <a:gd name="connsiteX10" fmla="*/ 715252 w 2568372"/>
                <a:gd name="connsiteY10" fmla="*/ 2803907 h 2815223"/>
                <a:gd name="connsiteX11" fmla="*/ 452606 w 2568372"/>
                <a:gd name="connsiteY11" fmla="*/ 2045149 h 2815223"/>
                <a:gd name="connsiteX12" fmla="*/ 58634 w 2568372"/>
                <a:gd name="connsiteY12" fmla="*/ 1602540 h 2815223"/>
                <a:gd name="connsiteX13" fmla="*/ 117001 w 2568372"/>
                <a:gd name="connsiteY13" fmla="*/ 1091839 h 2815223"/>
                <a:gd name="connsiteX0" fmla="*/ 117001 w 2603282"/>
                <a:gd name="connsiteY0" fmla="*/ 1091839 h 2815223"/>
                <a:gd name="connsiteX1" fmla="*/ 1007082 w 2603282"/>
                <a:gd name="connsiteY1" fmla="*/ 119072 h 2815223"/>
                <a:gd name="connsiteX2" fmla="*/ 1663699 w 2603282"/>
                <a:gd name="connsiteY2" fmla="*/ 109345 h 2815223"/>
                <a:gd name="connsiteX3" fmla="*/ 2568372 w 2603282"/>
                <a:gd name="connsiteY3" fmla="*/ 240668 h 2815223"/>
                <a:gd name="connsiteX4" fmla="*/ 2334908 w 2603282"/>
                <a:gd name="connsiteY4" fmla="*/ 483861 h 2815223"/>
                <a:gd name="connsiteX5" fmla="*/ 1566422 w 2603282"/>
                <a:gd name="connsiteY5" fmla="*/ 464405 h 2815223"/>
                <a:gd name="connsiteX6" fmla="*/ 1148132 w 2603282"/>
                <a:gd name="connsiteY6" fmla="*/ 415767 h 2815223"/>
                <a:gd name="connsiteX7" fmla="*/ 418558 w 2603282"/>
                <a:gd name="connsiteY7" fmla="*/ 1228025 h 2815223"/>
                <a:gd name="connsiteX8" fmla="*/ 399104 w 2603282"/>
                <a:gd name="connsiteY8" fmla="*/ 1529583 h 2815223"/>
                <a:gd name="connsiteX9" fmla="*/ 768755 w 2603282"/>
                <a:gd name="connsiteY9" fmla="*/ 1918689 h 2815223"/>
                <a:gd name="connsiteX10" fmla="*/ 934125 w 2603282"/>
                <a:gd name="connsiteY10" fmla="*/ 2614217 h 2815223"/>
                <a:gd name="connsiteX11" fmla="*/ 715252 w 2603282"/>
                <a:gd name="connsiteY11" fmla="*/ 2803907 h 2815223"/>
                <a:gd name="connsiteX12" fmla="*/ 452606 w 2603282"/>
                <a:gd name="connsiteY12" fmla="*/ 2045149 h 2815223"/>
                <a:gd name="connsiteX13" fmla="*/ 58634 w 2603282"/>
                <a:gd name="connsiteY13" fmla="*/ 1602540 h 2815223"/>
                <a:gd name="connsiteX14" fmla="*/ 117001 w 2603282"/>
                <a:gd name="connsiteY14" fmla="*/ 1091839 h 2815223"/>
                <a:gd name="connsiteX0" fmla="*/ 117001 w 2704505"/>
                <a:gd name="connsiteY0" fmla="*/ 1091839 h 2815223"/>
                <a:gd name="connsiteX1" fmla="*/ 1007082 w 2704505"/>
                <a:gd name="connsiteY1" fmla="*/ 119072 h 2815223"/>
                <a:gd name="connsiteX2" fmla="*/ 1663699 w 2704505"/>
                <a:gd name="connsiteY2" fmla="*/ 109345 h 2815223"/>
                <a:gd name="connsiteX3" fmla="*/ 2568372 w 2704505"/>
                <a:gd name="connsiteY3" fmla="*/ 240668 h 2815223"/>
                <a:gd name="connsiteX4" fmla="*/ 2617010 w 2704505"/>
                <a:gd name="connsiteY4" fmla="*/ 381721 h 2815223"/>
                <a:gd name="connsiteX5" fmla="*/ 1566422 w 2704505"/>
                <a:gd name="connsiteY5" fmla="*/ 464405 h 2815223"/>
                <a:gd name="connsiteX6" fmla="*/ 1148132 w 2704505"/>
                <a:gd name="connsiteY6" fmla="*/ 415767 h 2815223"/>
                <a:gd name="connsiteX7" fmla="*/ 418558 w 2704505"/>
                <a:gd name="connsiteY7" fmla="*/ 1228025 h 2815223"/>
                <a:gd name="connsiteX8" fmla="*/ 399104 w 2704505"/>
                <a:gd name="connsiteY8" fmla="*/ 1529583 h 2815223"/>
                <a:gd name="connsiteX9" fmla="*/ 768755 w 2704505"/>
                <a:gd name="connsiteY9" fmla="*/ 1918689 h 2815223"/>
                <a:gd name="connsiteX10" fmla="*/ 934125 w 2704505"/>
                <a:gd name="connsiteY10" fmla="*/ 2614217 h 2815223"/>
                <a:gd name="connsiteX11" fmla="*/ 715252 w 2704505"/>
                <a:gd name="connsiteY11" fmla="*/ 2803907 h 2815223"/>
                <a:gd name="connsiteX12" fmla="*/ 452606 w 2704505"/>
                <a:gd name="connsiteY12" fmla="*/ 2045149 h 2815223"/>
                <a:gd name="connsiteX13" fmla="*/ 58634 w 2704505"/>
                <a:gd name="connsiteY13" fmla="*/ 1602540 h 2815223"/>
                <a:gd name="connsiteX14" fmla="*/ 117001 w 2704505"/>
                <a:gd name="connsiteY14" fmla="*/ 1091839 h 2815223"/>
                <a:gd name="connsiteX0" fmla="*/ 117001 w 2832040"/>
                <a:gd name="connsiteY0" fmla="*/ 1091839 h 2815223"/>
                <a:gd name="connsiteX1" fmla="*/ 1007082 w 2832040"/>
                <a:gd name="connsiteY1" fmla="*/ 119072 h 2815223"/>
                <a:gd name="connsiteX2" fmla="*/ 1663699 w 2832040"/>
                <a:gd name="connsiteY2" fmla="*/ 109345 h 2815223"/>
                <a:gd name="connsiteX3" fmla="*/ 2568372 w 2832040"/>
                <a:gd name="connsiteY3" fmla="*/ 240668 h 2815223"/>
                <a:gd name="connsiteX4" fmla="*/ 2617010 w 2832040"/>
                <a:gd name="connsiteY4" fmla="*/ 381721 h 2815223"/>
                <a:gd name="connsiteX5" fmla="*/ 1566422 w 2832040"/>
                <a:gd name="connsiteY5" fmla="*/ 464405 h 2815223"/>
                <a:gd name="connsiteX6" fmla="*/ 1148132 w 2832040"/>
                <a:gd name="connsiteY6" fmla="*/ 415767 h 2815223"/>
                <a:gd name="connsiteX7" fmla="*/ 418558 w 2832040"/>
                <a:gd name="connsiteY7" fmla="*/ 1228025 h 2815223"/>
                <a:gd name="connsiteX8" fmla="*/ 399104 w 2832040"/>
                <a:gd name="connsiteY8" fmla="*/ 1529583 h 2815223"/>
                <a:gd name="connsiteX9" fmla="*/ 768755 w 2832040"/>
                <a:gd name="connsiteY9" fmla="*/ 1918689 h 2815223"/>
                <a:gd name="connsiteX10" fmla="*/ 934125 w 2832040"/>
                <a:gd name="connsiteY10" fmla="*/ 2614217 h 2815223"/>
                <a:gd name="connsiteX11" fmla="*/ 715252 w 2832040"/>
                <a:gd name="connsiteY11" fmla="*/ 2803907 h 2815223"/>
                <a:gd name="connsiteX12" fmla="*/ 452606 w 2832040"/>
                <a:gd name="connsiteY12" fmla="*/ 2045149 h 2815223"/>
                <a:gd name="connsiteX13" fmla="*/ 58634 w 2832040"/>
                <a:gd name="connsiteY13" fmla="*/ 1602540 h 2815223"/>
                <a:gd name="connsiteX14" fmla="*/ 117001 w 2832040"/>
                <a:gd name="connsiteY14" fmla="*/ 1091839 h 2815223"/>
                <a:gd name="connsiteX0" fmla="*/ 117001 w 2832040"/>
                <a:gd name="connsiteY0" fmla="*/ 1091839 h 2815223"/>
                <a:gd name="connsiteX1" fmla="*/ 1007082 w 2832040"/>
                <a:gd name="connsiteY1" fmla="*/ 119072 h 2815223"/>
                <a:gd name="connsiteX2" fmla="*/ 1663699 w 2832040"/>
                <a:gd name="connsiteY2" fmla="*/ 109345 h 2815223"/>
                <a:gd name="connsiteX3" fmla="*/ 2568372 w 2832040"/>
                <a:gd name="connsiteY3" fmla="*/ 240668 h 2815223"/>
                <a:gd name="connsiteX4" fmla="*/ 2617010 w 2832040"/>
                <a:gd name="connsiteY4" fmla="*/ 381721 h 2815223"/>
                <a:gd name="connsiteX5" fmla="*/ 1566422 w 2832040"/>
                <a:gd name="connsiteY5" fmla="*/ 464405 h 2815223"/>
                <a:gd name="connsiteX6" fmla="*/ 1148132 w 2832040"/>
                <a:gd name="connsiteY6" fmla="*/ 415767 h 2815223"/>
                <a:gd name="connsiteX7" fmla="*/ 418558 w 2832040"/>
                <a:gd name="connsiteY7" fmla="*/ 1228025 h 2815223"/>
                <a:gd name="connsiteX8" fmla="*/ 399104 w 2832040"/>
                <a:gd name="connsiteY8" fmla="*/ 1529583 h 2815223"/>
                <a:gd name="connsiteX9" fmla="*/ 768755 w 2832040"/>
                <a:gd name="connsiteY9" fmla="*/ 1918689 h 2815223"/>
                <a:gd name="connsiteX10" fmla="*/ 934125 w 2832040"/>
                <a:gd name="connsiteY10" fmla="*/ 2614217 h 2815223"/>
                <a:gd name="connsiteX11" fmla="*/ 715252 w 2832040"/>
                <a:gd name="connsiteY11" fmla="*/ 2803907 h 2815223"/>
                <a:gd name="connsiteX12" fmla="*/ 452606 w 2832040"/>
                <a:gd name="connsiteY12" fmla="*/ 2045149 h 2815223"/>
                <a:gd name="connsiteX13" fmla="*/ 58634 w 2832040"/>
                <a:gd name="connsiteY13" fmla="*/ 1602540 h 2815223"/>
                <a:gd name="connsiteX14" fmla="*/ 117001 w 283204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36680"/>
                <a:gd name="connsiteY0" fmla="*/ 1091839 h 2815223"/>
                <a:gd name="connsiteX1" fmla="*/ 1007082 w 2836680"/>
                <a:gd name="connsiteY1" fmla="*/ 119072 h 2815223"/>
                <a:gd name="connsiteX2" fmla="*/ 1663699 w 2836680"/>
                <a:gd name="connsiteY2" fmla="*/ 109345 h 2815223"/>
                <a:gd name="connsiteX3" fmla="*/ 2568372 w 2836680"/>
                <a:gd name="connsiteY3" fmla="*/ 240668 h 2815223"/>
                <a:gd name="connsiteX4" fmla="*/ 2617010 w 2836680"/>
                <a:gd name="connsiteY4" fmla="*/ 381721 h 2815223"/>
                <a:gd name="connsiteX5" fmla="*/ 1566422 w 2836680"/>
                <a:gd name="connsiteY5" fmla="*/ 464405 h 2815223"/>
                <a:gd name="connsiteX6" fmla="*/ 1148132 w 2836680"/>
                <a:gd name="connsiteY6" fmla="*/ 415767 h 2815223"/>
                <a:gd name="connsiteX7" fmla="*/ 418558 w 2836680"/>
                <a:gd name="connsiteY7" fmla="*/ 1228025 h 2815223"/>
                <a:gd name="connsiteX8" fmla="*/ 399104 w 2836680"/>
                <a:gd name="connsiteY8" fmla="*/ 1529583 h 2815223"/>
                <a:gd name="connsiteX9" fmla="*/ 768755 w 2836680"/>
                <a:gd name="connsiteY9" fmla="*/ 1918689 h 2815223"/>
                <a:gd name="connsiteX10" fmla="*/ 934125 w 2836680"/>
                <a:gd name="connsiteY10" fmla="*/ 2614217 h 2815223"/>
                <a:gd name="connsiteX11" fmla="*/ 715252 w 2836680"/>
                <a:gd name="connsiteY11" fmla="*/ 2803907 h 2815223"/>
                <a:gd name="connsiteX12" fmla="*/ 452606 w 2836680"/>
                <a:gd name="connsiteY12" fmla="*/ 2045149 h 2815223"/>
                <a:gd name="connsiteX13" fmla="*/ 58634 w 2836680"/>
                <a:gd name="connsiteY13" fmla="*/ 1602540 h 2815223"/>
                <a:gd name="connsiteX14" fmla="*/ 117001 w 2836680"/>
                <a:gd name="connsiteY14" fmla="*/ 1091839 h 2815223"/>
                <a:gd name="connsiteX0" fmla="*/ 117001 w 2846845"/>
                <a:gd name="connsiteY0" fmla="*/ 1091839 h 2815223"/>
                <a:gd name="connsiteX1" fmla="*/ 1007082 w 2846845"/>
                <a:gd name="connsiteY1" fmla="*/ 119072 h 2815223"/>
                <a:gd name="connsiteX2" fmla="*/ 1663699 w 2846845"/>
                <a:gd name="connsiteY2" fmla="*/ 109345 h 2815223"/>
                <a:gd name="connsiteX3" fmla="*/ 2568372 w 2846845"/>
                <a:gd name="connsiteY3" fmla="*/ 240668 h 2815223"/>
                <a:gd name="connsiteX4" fmla="*/ 2617010 w 2846845"/>
                <a:gd name="connsiteY4" fmla="*/ 381721 h 2815223"/>
                <a:gd name="connsiteX5" fmla="*/ 1566422 w 2846845"/>
                <a:gd name="connsiteY5" fmla="*/ 464405 h 2815223"/>
                <a:gd name="connsiteX6" fmla="*/ 1148132 w 2846845"/>
                <a:gd name="connsiteY6" fmla="*/ 415767 h 2815223"/>
                <a:gd name="connsiteX7" fmla="*/ 418558 w 2846845"/>
                <a:gd name="connsiteY7" fmla="*/ 1228025 h 2815223"/>
                <a:gd name="connsiteX8" fmla="*/ 399104 w 2846845"/>
                <a:gd name="connsiteY8" fmla="*/ 1529583 h 2815223"/>
                <a:gd name="connsiteX9" fmla="*/ 768755 w 2846845"/>
                <a:gd name="connsiteY9" fmla="*/ 1918689 h 2815223"/>
                <a:gd name="connsiteX10" fmla="*/ 934125 w 2846845"/>
                <a:gd name="connsiteY10" fmla="*/ 2614217 h 2815223"/>
                <a:gd name="connsiteX11" fmla="*/ 715252 w 2846845"/>
                <a:gd name="connsiteY11" fmla="*/ 2803907 h 2815223"/>
                <a:gd name="connsiteX12" fmla="*/ 452606 w 2846845"/>
                <a:gd name="connsiteY12" fmla="*/ 2045149 h 2815223"/>
                <a:gd name="connsiteX13" fmla="*/ 58634 w 2846845"/>
                <a:gd name="connsiteY13" fmla="*/ 1602540 h 2815223"/>
                <a:gd name="connsiteX14" fmla="*/ 117001 w 2846845"/>
                <a:gd name="connsiteY14" fmla="*/ 1091839 h 2815223"/>
                <a:gd name="connsiteX0" fmla="*/ 117001 w 2846845"/>
                <a:gd name="connsiteY0" fmla="*/ 1091839 h 2815223"/>
                <a:gd name="connsiteX1" fmla="*/ 1007082 w 2846845"/>
                <a:gd name="connsiteY1" fmla="*/ 119072 h 2815223"/>
                <a:gd name="connsiteX2" fmla="*/ 1663699 w 2846845"/>
                <a:gd name="connsiteY2" fmla="*/ 109345 h 2815223"/>
                <a:gd name="connsiteX3" fmla="*/ 2568372 w 2846845"/>
                <a:gd name="connsiteY3" fmla="*/ 240668 h 2815223"/>
                <a:gd name="connsiteX4" fmla="*/ 2617010 w 2846845"/>
                <a:gd name="connsiteY4" fmla="*/ 381721 h 2815223"/>
                <a:gd name="connsiteX5" fmla="*/ 1566422 w 2846845"/>
                <a:gd name="connsiteY5" fmla="*/ 464405 h 2815223"/>
                <a:gd name="connsiteX6" fmla="*/ 1148132 w 2846845"/>
                <a:gd name="connsiteY6" fmla="*/ 415767 h 2815223"/>
                <a:gd name="connsiteX7" fmla="*/ 418558 w 2846845"/>
                <a:gd name="connsiteY7" fmla="*/ 1228025 h 2815223"/>
                <a:gd name="connsiteX8" fmla="*/ 399104 w 2846845"/>
                <a:gd name="connsiteY8" fmla="*/ 1529583 h 2815223"/>
                <a:gd name="connsiteX9" fmla="*/ 768755 w 2846845"/>
                <a:gd name="connsiteY9" fmla="*/ 1918689 h 2815223"/>
                <a:gd name="connsiteX10" fmla="*/ 934125 w 2846845"/>
                <a:gd name="connsiteY10" fmla="*/ 2614217 h 2815223"/>
                <a:gd name="connsiteX11" fmla="*/ 715252 w 2846845"/>
                <a:gd name="connsiteY11" fmla="*/ 2803907 h 2815223"/>
                <a:gd name="connsiteX12" fmla="*/ 452606 w 2846845"/>
                <a:gd name="connsiteY12" fmla="*/ 2045149 h 2815223"/>
                <a:gd name="connsiteX13" fmla="*/ 58634 w 2846845"/>
                <a:gd name="connsiteY13" fmla="*/ 1602540 h 2815223"/>
                <a:gd name="connsiteX14" fmla="*/ 117001 w 2846845"/>
                <a:gd name="connsiteY14" fmla="*/ 1091839 h 2815223"/>
                <a:gd name="connsiteX0" fmla="*/ 117001 w 2846845"/>
                <a:gd name="connsiteY0" fmla="*/ 1091839 h 2815223"/>
                <a:gd name="connsiteX1" fmla="*/ 1007082 w 2846845"/>
                <a:gd name="connsiteY1" fmla="*/ 119072 h 2815223"/>
                <a:gd name="connsiteX2" fmla="*/ 1663699 w 2846845"/>
                <a:gd name="connsiteY2" fmla="*/ 109345 h 2815223"/>
                <a:gd name="connsiteX3" fmla="*/ 2568372 w 2846845"/>
                <a:gd name="connsiteY3" fmla="*/ 240668 h 2815223"/>
                <a:gd name="connsiteX4" fmla="*/ 2617010 w 2846845"/>
                <a:gd name="connsiteY4" fmla="*/ 381721 h 2815223"/>
                <a:gd name="connsiteX5" fmla="*/ 1566422 w 2846845"/>
                <a:gd name="connsiteY5" fmla="*/ 464405 h 2815223"/>
                <a:gd name="connsiteX6" fmla="*/ 1148132 w 2846845"/>
                <a:gd name="connsiteY6" fmla="*/ 415767 h 2815223"/>
                <a:gd name="connsiteX7" fmla="*/ 418558 w 2846845"/>
                <a:gd name="connsiteY7" fmla="*/ 1228025 h 2815223"/>
                <a:gd name="connsiteX8" fmla="*/ 399104 w 2846845"/>
                <a:gd name="connsiteY8" fmla="*/ 1529583 h 2815223"/>
                <a:gd name="connsiteX9" fmla="*/ 768755 w 2846845"/>
                <a:gd name="connsiteY9" fmla="*/ 1918689 h 2815223"/>
                <a:gd name="connsiteX10" fmla="*/ 934125 w 2846845"/>
                <a:gd name="connsiteY10" fmla="*/ 2614217 h 2815223"/>
                <a:gd name="connsiteX11" fmla="*/ 715252 w 2846845"/>
                <a:gd name="connsiteY11" fmla="*/ 2803907 h 2815223"/>
                <a:gd name="connsiteX12" fmla="*/ 452606 w 2846845"/>
                <a:gd name="connsiteY12" fmla="*/ 2045149 h 2815223"/>
                <a:gd name="connsiteX13" fmla="*/ 58634 w 2846845"/>
                <a:gd name="connsiteY13" fmla="*/ 1602540 h 2815223"/>
                <a:gd name="connsiteX14" fmla="*/ 117001 w 2846845"/>
                <a:gd name="connsiteY14" fmla="*/ 1091839 h 2815223"/>
                <a:gd name="connsiteX0" fmla="*/ 117001 w 2846845"/>
                <a:gd name="connsiteY0" fmla="*/ 1099926 h 2823310"/>
                <a:gd name="connsiteX1" fmla="*/ 1007082 w 2846845"/>
                <a:gd name="connsiteY1" fmla="*/ 127159 h 2823310"/>
                <a:gd name="connsiteX2" fmla="*/ 1663699 w 2846845"/>
                <a:gd name="connsiteY2" fmla="*/ 117432 h 2823310"/>
                <a:gd name="connsiteX3" fmla="*/ 2568372 w 2846845"/>
                <a:gd name="connsiteY3" fmla="*/ 248755 h 2823310"/>
                <a:gd name="connsiteX4" fmla="*/ 2617010 w 2846845"/>
                <a:gd name="connsiteY4" fmla="*/ 389808 h 2823310"/>
                <a:gd name="connsiteX5" fmla="*/ 1566422 w 2846845"/>
                <a:gd name="connsiteY5" fmla="*/ 472492 h 2823310"/>
                <a:gd name="connsiteX6" fmla="*/ 1148132 w 2846845"/>
                <a:gd name="connsiteY6" fmla="*/ 423854 h 2823310"/>
                <a:gd name="connsiteX7" fmla="*/ 418558 w 2846845"/>
                <a:gd name="connsiteY7" fmla="*/ 1236112 h 2823310"/>
                <a:gd name="connsiteX8" fmla="*/ 399104 w 2846845"/>
                <a:gd name="connsiteY8" fmla="*/ 1537670 h 2823310"/>
                <a:gd name="connsiteX9" fmla="*/ 768755 w 2846845"/>
                <a:gd name="connsiteY9" fmla="*/ 1926776 h 2823310"/>
                <a:gd name="connsiteX10" fmla="*/ 934125 w 2846845"/>
                <a:gd name="connsiteY10" fmla="*/ 2622304 h 2823310"/>
                <a:gd name="connsiteX11" fmla="*/ 715252 w 2846845"/>
                <a:gd name="connsiteY11" fmla="*/ 2811994 h 2823310"/>
                <a:gd name="connsiteX12" fmla="*/ 452606 w 2846845"/>
                <a:gd name="connsiteY12" fmla="*/ 2053236 h 2823310"/>
                <a:gd name="connsiteX13" fmla="*/ 58634 w 2846845"/>
                <a:gd name="connsiteY13" fmla="*/ 1610627 h 2823310"/>
                <a:gd name="connsiteX14" fmla="*/ 117001 w 2846845"/>
                <a:gd name="connsiteY14" fmla="*/ 1099926 h 2823310"/>
                <a:gd name="connsiteX0" fmla="*/ 117001 w 2846845"/>
                <a:gd name="connsiteY0" fmla="*/ 1095802 h 2819186"/>
                <a:gd name="connsiteX1" fmla="*/ 1007082 w 2846845"/>
                <a:gd name="connsiteY1" fmla="*/ 123035 h 2819186"/>
                <a:gd name="connsiteX2" fmla="*/ 1663699 w 2846845"/>
                <a:gd name="connsiteY2" fmla="*/ 113308 h 2819186"/>
                <a:gd name="connsiteX3" fmla="*/ 2568372 w 2846845"/>
                <a:gd name="connsiteY3" fmla="*/ 244631 h 2819186"/>
                <a:gd name="connsiteX4" fmla="*/ 2617010 w 2846845"/>
                <a:gd name="connsiteY4" fmla="*/ 385684 h 2819186"/>
                <a:gd name="connsiteX5" fmla="*/ 1566422 w 2846845"/>
                <a:gd name="connsiteY5" fmla="*/ 468368 h 2819186"/>
                <a:gd name="connsiteX6" fmla="*/ 1148132 w 2846845"/>
                <a:gd name="connsiteY6" fmla="*/ 419730 h 2819186"/>
                <a:gd name="connsiteX7" fmla="*/ 418558 w 2846845"/>
                <a:gd name="connsiteY7" fmla="*/ 1231988 h 2819186"/>
                <a:gd name="connsiteX8" fmla="*/ 399104 w 2846845"/>
                <a:gd name="connsiteY8" fmla="*/ 1533546 h 2819186"/>
                <a:gd name="connsiteX9" fmla="*/ 768755 w 2846845"/>
                <a:gd name="connsiteY9" fmla="*/ 1922652 h 2819186"/>
                <a:gd name="connsiteX10" fmla="*/ 934125 w 2846845"/>
                <a:gd name="connsiteY10" fmla="*/ 2618180 h 2819186"/>
                <a:gd name="connsiteX11" fmla="*/ 715252 w 2846845"/>
                <a:gd name="connsiteY11" fmla="*/ 2807870 h 2819186"/>
                <a:gd name="connsiteX12" fmla="*/ 452606 w 2846845"/>
                <a:gd name="connsiteY12" fmla="*/ 2049112 h 2819186"/>
                <a:gd name="connsiteX13" fmla="*/ 58634 w 2846845"/>
                <a:gd name="connsiteY13" fmla="*/ 1606503 h 2819186"/>
                <a:gd name="connsiteX14" fmla="*/ 117001 w 2846845"/>
                <a:gd name="connsiteY14" fmla="*/ 1095802 h 2819186"/>
                <a:gd name="connsiteX0" fmla="*/ 117001 w 2846845"/>
                <a:gd name="connsiteY0" fmla="*/ 1083122 h 2806506"/>
                <a:gd name="connsiteX1" fmla="*/ 1007082 w 2846845"/>
                <a:gd name="connsiteY1" fmla="*/ 110355 h 2806506"/>
                <a:gd name="connsiteX2" fmla="*/ 1663699 w 2846845"/>
                <a:gd name="connsiteY2" fmla="*/ 100628 h 2806506"/>
                <a:gd name="connsiteX3" fmla="*/ 2568372 w 2846845"/>
                <a:gd name="connsiteY3" fmla="*/ 231951 h 2806506"/>
                <a:gd name="connsiteX4" fmla="*/ 2617010 w 2846845"/>
                <a:gd name="connsiteY4" fmla="*/ 373004 h 2806506"/>
                <a:gd name="connsiteX5" fmla="*/ 1566422 w 2846845"/>
                <a:gd name="connsiteY5" fmla="*/ 455688 h 2806506"/>
                <a:gd name="connsiteX6" fmla="*/ 1148132 w 2846845"/>
                <a:gd name="connsiteY6" fmla="*/ 407050 h 2806506"/>
                <a:gd name="connsiteX7" fmla="*/ 418558 w 2846845"/>
                <a:gd name="connsiteY7" fmla="*/ 1219308 h 2806506"/>
                <a:gd name="connsiteX8" fmla="*/ 399104 w 2846845"/>
                <a:gd name="connsiteY8" fmla="*/ 1520866 h 2806506"/>
                <a:gd name="connsiteX9" fmla="*/ 768755 w 2846845"/>
                <a:gd name="connsiteY9" fmla="*/ 1909972 h 2806506"/>
                <a:gd name="connsiteX10" fmla="*/ 934125 w 2846845"/>
                <a:gd name="connsiteY10" fmla="*/ 2605500 h 2806506"/>
                <a:gd name="connsiteX11" fmla="*/ 715252 w 2846845"/>
                <a:gd name="connsiteY11" fmla="*/ 2795190 h 2806506"/>
                <a:gd name="connsiteX12" fmla="*/ 452606 w 2846845"/>
                <a:gd name="connsiteY12" fmla="*/ 2036432 h 2806506"/>
                <a:gd name="connsiteX13" fmla="*/ 58634 w 2846845"/>
                <a:gd name="connsiteY13" fmla="*/ 1593823 h 2806506"/>
                <a:gd name="connsiteX14" fmla="*/ 117001 w 2846845"/>
                <a:gd name="connsiteY14" fmla="*/ 1083122 h 2806506"/>
                <a:gd name="connsiteX0" fmla="*/ 117001 w 2846845"/>
                <a:gd name="connsiteY0" fmla="*/ 1083122 h 2806506"/>
                <a:gd name="connsiteX1" fmla="*/ 1007082 w 2846845"/>
                <a:gd name="connsiteY1" fmla="*/ 110355 h 2806506"/>
                <a:gd name="connsiteX2" fmla="*/ 1639380 w 2846845"/>
                <a:gd name="connsiteY2" fmla="*/ 100628 h 2806506"/>
                <a:gd name="connsiteX3" fmla="*/ 2568372 w 2846845"/>
                <a:gd name="connsiteY3" fmla="*/ 231951 h 2806506"/>
                <a:gd name="connsiteX4" fmla="*/ 2617010 w 2846845"/>
                <a:gd name="connsiteY4" fmla="*/ 373004 h 2806506"/>
                <a:gd name="connsiteX5" fmla="*/ 1566422 w 2846845"/>
                <a:gd name="connsiteY5" fmla="*/ 455688 h 2806506"/>
                <a:gd name="connsiteX6" fmla="*/ 1148132 w 2846845"/>
                <a:gd name="connsiteY6" fmla="*/ 407050 h 2806506"/>
                <a:gd name="connsiteX7" fmla="*/ 418558 w 2846845"/>
                <a:gd name="connsiteY7" fmla="*/ 1219308 h 2806506"/>
                <a:gd name="connsiteX8" fmla="*/ 399104 w 2846845"/>
                <a:gd name="connsiteY8" fmla="*/ 1520866 h 2806506"/>
                <a:gd name="connsiteX9" fmla="*/ 768755 w 2846845"/>
                <a:gd name="connsiteY9" fmla="*/ 1909972 h 2806506"/>
                <a:gd name="connsiteX10" fmla="*/ 934125 w 2846845"/>
                <a:gd name="connsiteY10" fmla="*/ 2605500 h 2806506"/>
                <a:gd name="connsiteX11" fmla="*/ 715252 w 2846845"/>
                <a:gd name="connsiteY11" fmla="*/ 2795190 h 2806506"/>
                <a:gd name="connsiteX12" fmla="*/ 452606 w 2846845"/>
                <a:gd name="connsiteY12" fmla="*/ 2036432 h 2806506"/>
                <a:gd name="connsiteX13" fmla="*/ 58634 w 2846845"/>
                <a:gd name="connsiteY13" fmla="*/ 1593823 h 2806506"/>
                <a:gd name="connsiteX14" fmla="*/ 117001 w 2846845"/>
                <a:gd name="connsiteY14" fmla="*/ 1083122 h 2806506"/>
                <a:gd name="connsiteX0" fmla="*/ 117001 w 2846845"/>
                <a:gd name="connsiteY0" fmla="*/ 1083122 h 2806506"/>
                <a:gd name="connsiteX1" fmla="*/ 1007082 w 2846845"/>
                <a:gd name="connsiteY1" fmla="*/ 110355 h 2806506"/>
                <a:gd name="connsiteX2" fmla="*/ 1639380 w 2846845"/>
                <a:gd name="connsiteY2" fmla="*/ 100628 h 2806506"/>
                <a:gd name="connsiteX3" fmla="*/ 2568372 w 2846845"/>
                <a:gd name="connsiteY3" fmla="*/ 231951 h 2806506"/>
                <a:gd name="connsiteX4" fmla="*/ 2617010 w 2846845"/>
                <a:gd name="connsiteY4" fmla="*/ 373004 h 2806506"/>
                <a:gd name="connsiteX5" fmla="*/ 1566422 w 2846845"/>
                <a:gd name="connsiteY5" fmla="*/ 455688 h 2806506"/>
                <a:gd name="connsiteX6" fmla="*/ 1148132 w 2846845"/>
                <a:gd name="connsiteY6" fmla="*/ 407050 h 2806506"/>
                <a:gd name="connsiteX7" fmla="*/ 418558 w 2846845"/>
                <a:gd name="connsiteY7" fmla="*/ 1219308 h 2806506"/>
                <a:gd name="connsiteX8" fmla="*/ 399104 w 2846845"/>
                <a:gd name="connsiteY8" fmla="*/ 1520866 h 2806506"/>
                <a:gd name="connsiteX9" fmla="*/ 768755 w 2846845"/>
                <a:gd name="connsiteY9" fmla="*/ 1909972 h 2806506"/>
                <a:gd name="connsiteX10" fmla="*/ 934125 w 2846845"/>
                <a:gd name="connsiteY10" fmla="*/ 2605500 h 2806506"/>
                <a:gd name="connsiteX11" fmla="*/ 715252 w 2846845"/>
                <a:gd name="connsiteY11" fmla="*/ 2795190 h 2806506"/>
                <a:gd name="connsiteX12" fmla="*/ 452606 w 2846845"/>
                <a:gd name="connsiteY12" fmla="*/ 2036432 h 2806506"/>
                <a:gd name="connsiteX13" fmla="*/ 58634 w 2846845"/>
                <a:gd name="connsiteY13" fmla="*/ 1593823 h 2806506"/>
                <a:gd name="connsiteX14" fmla="*/ 117001 w 2846845"/>
                <a:gd name="connsiteY14" fmla="*/ 1083122 h 2806506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768755 w 2846845"/>
                <a:gd name="connsiteY9" fmla="*/ 1915683 h 2812217"/>
                <a:gd name="connsiteX10" fmla="*/ 934125 w 2846845"/>
                <a:gd name="connsiteY10" fmla="*/ 2611211 h 2812217"/>
                <a:gd name="connsiteX11" fmla="*/ 715252 w 2846845"/>
                <a:gd name="connsiteY11" fmla="*/ 2800901 h 2812217"/>
                <a:gd name="connsiteX12" fmla="*/ 452606 w 2846845"/>
                <a:gd name="connsiteY12" fmla="*/ 2042143 h 2812217"/>
                <a:gd name="connsiteX13" fmla="*/ 58634 w 2846845"/>
                <a:gd name="connsiteY13" fmla="*/ 1599534 h 2812217"/>
                <a:gd name="connsiteX14" fmla="*/ 117001 w 2846845"/>
                <a:gd name="connsiteY14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768755 w 2846845"/>
                <a:gd name="connsiteY9" fmla="*/ 1915683 h 2812217"/>
                <a:gd name="connsiteX10" fmla="*/ 934125 w 2846845"/>
                <a:gd name="connsiteY10" fmla="*/ 2611211 h 2812217"/>
                <a:gd name="connsiteX11" fmla="*/ 715252 w 2846845"/>
                <a:gd name="connsiteY11" fmla="*/ 2800901 h 2812217"/>
                <a:gd name="connsiteX12" fmla="*/ 452606 w 2846845"/>
                <a:gd name="connsiteY12" fmla="*/ 2042143 h 2812217"/>
                <a:gd name="connsiteX13" fmla="*/ 58634 w 2846845"/>
                <a:gd name="connsiteY13" fmla="*/ 1599534 h 2812217"/>
                <a:gd name="connsiteX14" fmla="*/ 117001 w 2846845"/>
                <a:gd name="connsiteY14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768755 w 2846845"/>
                <a:gd name="connsiteY9" fmla="*/ 1915683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58634 w 2846845"/>
                <a:gd name="connsiteY14" fmla="*/ 1599534 h 2812217"/>
                <a:gd name="connsiteX15" fmla="*/ 117001 w 2846845"/>
                <a:gd name="connsiteY15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452606 w 2846845"/>
                <a:gd name="connsiteY13" fmla="*/ 2042143 h 2812217"/>
                <a:gd name="connsiteX14" fmla="*/ 316418 w 2846845"/>
                <a:gd name="connsiteY14" fmla="*/ 1891366 h 2812217"/>
                <a:gd name="connsiteX15" fmla="*/ 58634 w 2846845"/>
                <a:gd name="connsiteY15" fmla="*/ 1599534 h 2812217"/>
                <a:gd name="connsiteX16" fmla="*/ 117001 w 2846845"/>
                <a:gd name="connsiteY16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520699 w 2846845"/>
                <a:gd name="connsiteY13" fmla="*/ 2304792 h 2812217"/>
                <a:gd name="connsiteX14" fmla="*/ 452606 w 2846845"/>
                <a:gd name="connsiteY14" fmla="*/ 2042143 h 2812217"/>
                <a:gd name="connsiteX15" fmla="*/ 316418 w 2846845"/>
                <a:gd name="connsiteY15" fmla="*/ 1891366 h 2812217"/>
                <a:gd name="connsiteX16" fmla="*/ 58634 w 2846845"/>
                <a:gd name="connsiteY16" fmla="*/ 1599534 h 2812217"/>
                <a:gd name="connsiteX17" fmla="*/ 117001 w 2846845"/>
                <a:gd name="connsiteY17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520699 w 2846845"/>
                <a:gd name="connsiteY13" fmla="*/ 2304792 h 2812217"/>
                <a:gd name="connsiteX14" fmla="*/ 316418 w 2846845"/>
                <a:gd name="connsiteY14" fmla="*/ 1891366 h 2812217"/>
                <a:gd name="connsiteX15" fmla="*/ 58634 w 2846845"/>
                <a:gd name="connsiteY15" fmla="*/ 1599534 h 2812217"/>
                <a:gd name="connsiteX16" fmla="*/ 117001 w 2846845"/>
                <a:gd name="connsiteY16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520699 w 2846845"/>
                <a:gd name="connsiteY13" fmla="*/ 2304792 h 2812217"/>
                <a:gd name="connsiteX14" fmla="*/ 316418 w 2846845"/>
                <a:gd name="connsiteY14" fmla="*/ 1891366 h 2812217"/>
                <a:gd name="connsiteX15" fmla="*/ 58634 w 2846845"/>
                <a:gd name="connsiteY15" fmla="*/ 1599534 h 2812217"/>
                <a:gd name="connsiteX16" fmla="*/ 117001 w 2846845"/>
                <a:gd name="connsiteY16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520699 w 2846845"/>
                <a:gd name="connsiteY13" fmla="*/ 2304792 h 2812217"/>
                <a:gd name="connsiteX14" fmla="*/ 316418 w 2846845"/>
                <a:gd name="connsiteY14" fmla="*/ 1891366 h 2812217"/>
                <a:gd name="connsiteX15" fmla="*/ 58634 w 2846845"/>
                <a:gd name="connsiteY15" fmla="*/ 1599534 h 2812217"/>
                <a:gd name="connsiteX16" fmla="*/ 117001 w 2846845"/>
                <a:gd name="connsiteY16" fmla="*/ 1088833 h 2812217"/>
                <a:gd name="connsiteX0" fmla="*/ 117001 w 2846845"/>
                <a:gd name="connsiteY0" fmla="*/ 1088833 h 2812217"/>
                <a:gd name="connsiteX1" fmla="*/ 1007082 w 2846845"/>
                <a:gd name="connsiteY1" fmla="*/ 116066 h 2812217"/>
                <a:gd name="connsiteX2" fmla="*/ 1639380 w 2846845"/>
                <a:gd name="connsiteY2" fmla="*/ 106339 h 2812217"/>
                <a:gd name="connsiteX3" fmla="*/ 2568372 w 2846845"/>
                <a:gd name="connsiteY3" fmla="*/ 237662 h 2812217"/>
                <a:gd name="connsiteX4" fmla="*/ 2617010 w 2846845"/>
                <a:gd name="connsiteY4" fmla="*/ 378715 h 2812217"/>
                <a:gd name="connsiteX5" fmla="*/ 1566422 w 2846845"/>
                <a:gd name="connsiteY5" fmla="*/ 461399 h 2812217"/>
                <a:gd name="connsiteX6" fmla="*/ 1148132 w 2846845"/>
                <a:gd name="connsiteY6" fmla="*/ 412761 h 2812217"/>
                <a:gd name="connsiteX7" fmla="*/ 418558 w 2846845"/>
                <a:gd name="connsiteY7" fmla="*/ 1225019 h 2812217"/>
                <a:gd name="connsiteX8" fmla="*/ 399104 w 2846845"/>
                <a:gd name="connsiteY8" fmla="*/ 1526577 h 2812217"/>
                <a:gd name="connsiteX9" fmla="*/ 690934 w 2846845"/>
                <a:gd name="connsiteY9" fmla="*/ 1832998 h 2812217"/>
                <a:gd name="connsiteX10" fmla="*/ 827120 w 2846845"/>
                <a:gd name="connsiteY10" fmla="*/ 2202651 h 2812217"/>
                <a:gd name="connsiteX11" fmla="*/ 934125 w 2846845"/>
                <a:gd name="connsiteY11" fmla="*/ 2611211 h 2812217"/>
                <a:gd name="connsiteX12" fmla="*/ 715252 w 2846845"/>
                <a:gd name="connsiteY12" fmla="*/ 2800901 h 2812217"/>
                <a:gd name="connsiteX13" fmla="*/ 520699 w 2846845"/>
                <a:gd name="connsiteY13" fmla="*/ 2304792 h 2812217"/>
                <a:gd name="connsiteX14" fmla="*/ 296962 w 2846845"/>
                <a:gd name="connsiteY14" fmla="*/ 1891366 h 2812217"/>
                <a:gd name="connsiteX15" fmla="*/ 58634 w 2846845"/>
                <a:gd name="connsiteY15" fmla="*/ 1599534 h 2812217"/>
                <a:gd name="connsiteX16" fmla="*/ 117001 w 2846845"/>
                <a:gd name="connsiteY16" fmla="*/ 1088833 h 2812217"/>
                <a:gd name="connsiteX0" fmla="*/ 33194 w 2763038"/>
                <a:gd name="connsiteY0" fmla="*/ 1088833 h 2812217"/>
                <a:gd name="connsiteX1" fmla="*/ 923275 w 2763038"/>
                <a:gd name="connsiteY1" fmla="*/ 116066 h 2812217"/>
                <a:gd name="connsiteX2" fmla="*/ 1555573 w 2763038"/>
                <a:gd name="connsiteY2" fmla="*/ 106339 h 2812217"/>
                <a:gd name="connsiteX3" fmla="*/ 2484565 w 2763038"/>
                <a:gd name="connsiteY3" fmla="*/ 237662 h 2812217"/>
                <a:gd name="connsiteX4" fmla="*/ 2533203 w 2763038"/>
                <a:gd name="connsiteY4" fmla="*/ 378715 h 2812217"/>
                <a:gd name="connsiteX5" fmla="*/ 1482615 w 2763038"/>
                <a:gd name="connsiteY5" fmla="*/ 461399 h 2812217"/>
                <a:gd name="connsiteX6" fmla="*/ 1064325 w 2763038"/>
                <a:gd name="connsiteY6" fmla="*/ 412761 h 2812217"/>
                <a:gd name="connsiteX7" fmla="*/ 334751 w 2763038"/>
                <a:gd name="connsiteY7" fmla="*/ 1225019 h 2812217"/>
                <a:gd name="connsiteX8" fmla="*/ 315297 w 2763038"/>
                <a:gd name="connsiteY8" fmla="*/ 1526577 h 2812217"/>
                <a:gd name="connsiteX9" fmla="*/ 607127 w 2763038"/>
                <a:gd name="connsiteY9" fmla="*/ 1832998 h 2812217"/>
                <a:gd name="connsiteX10" fmla="*/ 743313 w 2763038"/>
                <a:gd name="connsiteY10" fmla="*/ 2202651 h 2812217"/>
                <a:gd name="connsiteX11" fmla="*/ 850318 w 2763038"/>
                <a:gd name="connsiteY11" fmla="*/ 2611211 h 2812217"/>
                <a:gd name="connsiteX12" fmla="*/ 631445 w 2763038"/>
                <a:gd name="connsiteY12" fmla="*/ 2800901 h 2812217"/>
                <a:gd name="connsiteX13" fmla="*/ 436892 w 2763038"/>
                <a:gd name="connsiteY13" fmla="*/ 2304792 h 2812217"/>
                <a:gd name="connsiteX14" fmla="*/ 213155 w 2763038"/>
                <a:gd name="connsiteY14" fmla="*/ 1891366 h 2812217"/>
                <a:gd name="connsiteX15" fmla="*/ 33194 w 2763038"/>
                <a:gd name="connsiteY15" fmla="*/ 1088833 h 2812217"/>
                <a:gd name="connsiteX0" fmla="*/ 95096 w 2824940"/>
                <a:gd name="connsiteY0" fmla="*/ 1088833 h 2812217"/>
                <a:gd name="connsiteX1" fmla="*/ 985177 w 2824940"/>
                <a:gd name="connsiteY1" fmla="*/ 116066 h 2812217"/>
                <a:gd name="connsiteX2" fmla="*/ 1617475 w 2824940"/>
                <a:gd name="connsiteY2" fmla="*/ 106339 h 2812217"/>
                <a:gd name="connsiteX3" fmla="*/ 2546467 w 2824940"/>
                <a:gd name="connsiteY3" fmla="*/ 237662 h 2812217"/>
                <a:gd name="connsiteX4" fmla="*/ 2595105 w 2824940"/>
                <a:gd name="connsiteY4" fmla="*/ 378715 h 2812217"/>
                <a:gd name="connsiteX5" fmla="*/ 1544517 w 2824940"/>
                <a:gd name="connsiteY5" fmla="*/ 461399 h 2812217"/>
                <a:gd name="connsiteX6" fmla="*/ 1126227 w 2824940"/>
                <a:gd name="connsiteY6" fmla="*/ 412761 h 2812217"/>
                <a:gd name="connsiteX7" fmla="*/ 396653 w 2824940"/>
                <a:gd name="connsiteY7" fmla="*/ 1225019 h 2812217"/>
                <a:gd name="connsiteX8" fmla="*/ 377199 w 2824940"/>
                <a:gd name="connsiteY8" fmla="*/ 1526577 h 2812217"/>
                <a:gd name="connsiteX9" fmla="*/ 669029 w 2824940"/>
                <a:gd name="connsiteY9" fmla="*/ 1832998 h 2812217"/>
                <a:gd name="connsiteX10" fmla="*/ 805215 w 2824940"/>
                <a:gd name="connsiteY10" fmla="*/ 2202651 h 2812217"/>
                <a:gd name="connsiteX11" fmla="*/ 912220 w 2824940"/>
                <a:gd name="connsiteY11" fmla="*/ 2611211 h 2812217"/>
                <a:gd name="connsiteX12" fmla="*/ 693347 w 2824940"/>
                <a:gd name="connsiteY12" fmla="*/ 2800901 h 2812217"/>
                <a:gd name="connsiteX13" fmla="*/ 498794 w 2824940"/>
                <a:gd name="connsiteY13" fmla="*/ 2304792 h 2812217"/>
                <a:gd name="connsiteX14" fmla="*/ 275057 w 2824940"/>
                <a:gd name="connsiteY14" fmla="*/ 1891366 h 2812217"/>
                <a:gd name="connsiteX15" fmla="*/ 95096 w 2824940"/>
                <a:gd name="connsiteY15" fmla="*/ 1088833 h 2812217"/>
                <a:gd name="connsiteX0" fmla="*/ 121910 w 2851754"/>
                <a:gd name="connsiteY0" fmla="*/ 1088833 h 2812217"/>
                <a:gd name="connsiteX1" fmla="*/ 1011991 w 2851754"/>
                <a:gd name="connsiteY1" fmla="*/ 116066 h 2812217"/>
                <a:gd name="connsiteX2" fmla="*/ 1644289 w 2851754"/>
                <a:gd name="connsiteY2" fmla="*/ 106339 h 2812217"/>
                <a:gd name="connsiteX3" fmla="*/ 2573281 w 2851754"/>
                <a:gd name="connsiteY3" fmla="*/ 237662 h 2812217"/>
                <a:gd name="connsiteX4" fmla="*/ 2621919 w 2851754"/>
                <a:gd name="connsiteY4" fmla="*/ 378715 h 2812217"/>
                <a:gd name="connsiteX5" fmla="*/ 1571331 w 2851754"/>
                <a:gd name="connsiteY5" fmla="*/ 461399 h 2812217"/>
                <a:gd name="connsiteX6" fmla="*/ 1153041 w 2851754"/>
                <a:gd name="connsiteY6" fmla="*/ 412761 h 2812217"/>
                <a:gd name="connsiteX7" fmla="*/ 423467 w 2851754"/>
                <a:gd name="connsiteY7" fmla="*/ 1225019 h 2812217"/>
                <a:gd name="connsiteX8" fmla="*/ 404013 w 2851754"/>
                <a:gd name="connsiteY8" fmla="*/ 1526577 h 2812217"/>
                <a:gd name="connsiteX9" fmla="*/ 695843 w 2851754"/>
                <a:gd name="connsiteY9" fmla="*/ 1832998 h 2812217"/>
                <a:gd name="connsiteX10" fmla="*/ 832029 w 2851754"/>
                <a:gd name="connsiteY10" fmla="*/ 2202651 h 2812217"/>
                <a:gd name="connsiteX11" fmla="*/ 939034 w 2851754"/>
                <a:gd name="connsiteY11" fmla="*/ 2611211 h 2812217"/>
                <a:gd name="connsiteX12" fmla="*/ 720161 w 2851754"/>
                <a:gd name="connsiteY12" fmla="*/ 2800901 h 2812217"/>
                <a:gd name="connsiteX13" fmla="*/ 525608 w 2851754"/>
                <a:gd name="connsiteY13" fmla="*/ 2304792 h 2812217"/>
                <a:gd name="connsiteX14" fmla="*/ 243505 w 2851754"/>
                <a:gd name="connsiteY14" fmla="*/ 1842728 h 2812217"/>
                <a:gd name="connsiteX15" fmla="*/ 121910 w 2851754"/>
                <a:gd name="connsiteY15" fmla="*/ 1088833 h 2812217"/>
                <a:gd name="connsiteX0" fmla="*/ 121910 w 2851754"/>
                <a:gd name="connsiteY0" fmla="*/ 1088833 h 2812217"/>
                <a:gd name="connsiteX1" fmla="*/ 1011991 w 2851754"/>
                <a:gd name="connsiteY1" fmla="*/ 116066 h 2812217"/>
                <a:gd name="connsiteX2" fmla="*/ 1644289 w 2851754"/>
                <a:gd name="connsiteY2" fmla="*/ 106339 h 2812217"/>
                <a:gd name="connsiteX3" fmla="*/ 2573281 w 2851754"/>
                <a:gd name="connsiteY3" fmla="*/ 237662 h 2812217"/>
                <a:gd name="connsiteX4" fmla="*/ 2621919 w 2851754"/>
                <a:gd name="connsiteY4" fmla="*/ 378715 h 2812217"/>
                <a:gd name="connsiteX5" fmla="*/ 1571331 w 2851754"/>
                <a:gd name="connsiteY5" fmla="*/ 461399 h 2812217"/>
                <a:gd name="connsiteX6" fmla="*/ 1153041 w 2851754"/>
                <a:gd name="connsiteY6" fmla="*/ 412761 h 2812217"/>
                <a:gd name="connsiteX7" fmla="*/ 423467 w 2851754"/>
                <a:gd name="connsiteY7" fmla="*/ 1225019 h 2812217"/>
                <a:gd name="connsiteX8" fmla="*/ 404013 w 2851754"/>
                <a:gd name="connsiteY8" fmla="*/ 1526577 h 2812217"/>
                <a:gd name="connsiteX9" fmla="*/ 695843 w 2851754"/>
                <a:gd name="connsiteY9" fmla="*/ 1832998 h 2812217"/>
                <a:gd name="connsiteX10" fmla="*/ 832029 w 2851754"/>
                <a:gd name="connsiteY10" fmla="*/ 2202651 h 2812217"/>
                <a:gd name="connsiteX11" fmla="*/ 939034 w 2851754"/>
                <a:gd name="connsiteY11" fmla="*/ 2611211 h 2812217"/>
                <a:gd name="connsiteX12" fmla="*/ 720161 w 2851754"/>
                <a:gd name="connsiteY12" fmla="*/ 2800901 h 2812217"/>
                <a:gd name="connsiteX13" fmla="*/ 525608 w 2851754"/>
                <a:gd name="connsiteY13" fmla="*/ 2304792 h 2812217"/>
                <a:gd name="connsiteX14" fmla="*/ 243505 w 2851754"/>
                <a:gd name="connsiteY14" fmla="*/ 1823273 h 2812217"/>
                <a:gd name="connsiteX15" fmla="*/ 121910 w 2851754"/>
                <a:gd name="connsiteY15" fmla="*/ 1088833 h 2812217"/>
                <a:gd name="connsiteX0" fmla="*/ 98893 w 2828737"/>
                <a:gd name="connsiteY0" fmla="*/ 1088833 h 2812217"/>
                <a:gd name="connsiteX1" fmla="*/ 988974 w 2828737"/>
                <a:gd name="connsiteY1" fmla="*/ 116066 h 2812217"/>
                <a:gd name="connsiteX2" fmla="*/ 1621272 w 2828737"/>
                <a:gd name="connsiteY2" fmla="*/ 106339 h 2812217"/>
                <a:gd name="connsiteX3" fmla="*/ 2550264 w 2828737"/>
                <a:gd name="connsiteY3" fmla="*/ 237662 h 2812217"/>
                <a:gd name="connsiteX4" fmla="*/ 2598902 w 2828737"/>
                <a:gd name="connsiteY4" fmla="*/ 378715 h 2812217"/>
                <a:gd name="connsiteX5" fmla="*/ 1548314 w 2828737"/>
                <a:gd name="connsiteY5" fmla="*/ 461399 h 2812217"/>
                <a:gd name="connsiteX6" fmla="*/ 1130024 w 2828737"/>
                <a:gd name="connsiteY6" fmla="*/ 412761 h 2812217"/>
                <a:gd name="connsiteX7" fmla="*/ 400450 w 2828737"/>
                <a:gd name="connsiteY7" fmla="*/ 1225019 h 2812217"/>
                <a:gd name="connsiteX8" fmla="*/ 380996 w 2828737"/>
                <a:gd name="connsiteY8" fmla="*/ 1526577 h 2812217"/>
                <a:gd name="connsiteX9" fmla="*/ 672826 w 2828737"/>
                <a:gd name="connsiteY9" fmla="*/ 1832998 h 2812217"/>
                <a:gd name="connsiteX10" fmla="*/ 809012 w 2828737"/>
                <a:gd name="connsiteY10" fmla="*/ 2202651 h 2812217"/>
                <a:gd name="connsiteX11" fmla="*/ 916017 w 2828737"/>
                <a:gd name="connsiteY11" fmla="*/ 2611211 h 2812217"/>
                <a:gd name="connsiteX12" fmla="*/ 697144 w 2828737"/>
                <a:gd name="connsiteY12" fmla="*/ 2800901 h 2812217"/>
                <a:gd name="connsiteX13" fmla="*/ 502591 w 2828737"/>
                <a:gd name="connsiteY13" fmla="*/ 2304792 h 2812217"/>
                <a:gd name="connsiteX14" fmla="*/ 220488 w 2828737"/>
                <a:gd name="connsiteY14" fmla="*/ 1823273 h 2812217"/>
                <a:gd name="connsiteX15" fmla="*/ 98893 w 2828737"/>
                <a:gd name="connsiteY15" fmla="*/ 1088833 h 2812217"/>
                <a:gd name="connsiteX0" fmla="*/ 98893 w 2828737"/>
                <a:gd name="connsiteY0" fmla="*/ 1088833 h 2812217"/>
                <a:gd name="connsiteX1" fmla="*/ 988974 w 2828737"/>
                <a:gd name="connsiteY1" fmla="*/ 116066 h 2812217"/>
                <a:gd name="connsiteX2" fmla="*/ 1621272 w 2828737"/>
                <a:gd name="connsiteY2" fmla="*/ 106339 h 2812217"/>
                <a:gd name="connsiteX3" fmla="*/ 2550264 w 2828737"/>
                <a:gd name="connsiteY3" fmla="*/ 237662 h 2812217"/>
                <a:gd name="connsiteX4" fmla="*/ 2598902 w 2828737"/>
                <a:gd name="connsiteY4" fmla="*/ 378715 h 2812217"/>
                <a:gd name="connsiteX5" fmla="*/ 1548314 w 2828737"/>
                <a:gd name="connsiteY5" fmla="*/ 461399 h 2812217"/>
                <a:gd name="connsiteX6" fmla="*/ 1130024 w 2828737"/>
                <a:gd name="connsiteY6" fmla="*/ 412761 h 2812217"/>
                <a:gd name="connsiteX7" fmla="*/ 400450 w 2828737"/>
                <a:gd name="connsiteY7" fmla="*/ 1225019 h 2812217"/>
                <a:gd name="connsiteX8" fmla="*/ 380996 w 2828737"/>
                <a:gd name="connsiteY8" fmla="*/ 1526577 h 2812217"/>
                <a:gd name="connsiteX9" fmla="*/ 672826 w 2828737"/>
                <a:gd name="connsiteY9" fmla="*/ 1832998 h 2812217"/>
                <a:gd name="connsiteX10" fmla="*/ 809012 w 2828737"/>
                <a:gd name="connsiteY10" fmla="*/ 2202651 h 2812217"/>
                <a:gd name="connsiteX11" fmla="*/ 916017 w 2828737"/>
                <a:gd name="connsiteY11" fmla="*/ 2611211 h 2812217"/>
                <a:gd name="connsiteX12" fmla="*/ 697144 w 2828737"/>
                <a:gd name="connsiteY12" fmla="*/ 2800901 h 2812217"/>
                <a:gd name="connsiteX13" fmla="*/ 502591 w 2828737"/>
                <a:gd name="connsiteY13" fmla="*/ 2304792 h 2812217"/>
                <a:gd name="connsiteX14" fmla="*/ 220488 w 2828737"/>
                <a:gd name="connsiteY14" fmla="*/ 1823273 h 2812217"/>
                <a:gd name="connsiteX15" fmla="*/ 98893 w 2828737"/>
                <a:gd name="connsiteY15" fmla="*/ 1088833 h 2812217"/>
                <a:gd name="connsiteX0" fmla="*/ 98893 w 2828737"/>
                <a:gd name="connsiteY0" fmla="*/ 1088833 h 2812217"/>
                <a:gd name="connsiteX1" fmla="*/ 988974 w 2828737"/>
                <a:gd name="connsiteY1" fmla="*/ 116066 h 2812217"/>
                <a:gd name="connsiteX2" fmla="*/ 1621272 w 2828737"/>
                <a:gd name="connsiteY2" fmla="*/ 106339 h 2812217"/>
                <a:gd name="connsiteX3" fmla="*/ 2550264 w 2828737"/>
                <a:gd name="connsiteY3" fmla="*/ 237662 h 2812217"/>
                <a:gd name="connsiteX4" fmla="*/ 2598902 w 2828737"/>
                <a:gd name="connsiteY4" fmla="*/ 378715 h 2812217"/>
                <a:gd name="connsiteX5" fmla="*/ 1548314 w 2828737"/>
                <a:gd name="connsiteY5" fmla="*/ 461399 h 2812217"/>
                <a:gd name="connsiteX6" fmla="*/ 1130024 w 2828737"/>
                <a:gd name="connsiteY6" fmla="*/ 412761 h 2812217"/>
                <a:gd name="connsiteX7" fmla="*/ 400450 w 2828737"/>
                <a:gd name="connsiteY7" fmla="*/ 1225019 h 2812217"/>
                <a:gd name="connsiteX8" fmla="*/ 380996 w 2828737"/>
                <a:gd name="connsiteY8" fmla="*/ 1526577 h 2812217"/>
                <a:gd name="connsiteX9" fmla="*/ 672826 w 2828737"/>
                <a:gd name="connsiteY9" fmla="*/ 1832998 h 2812217"/>
                <a:gd name="connsiteX10" fmla="*/ 809012 w 2828737"/>
                <a:gd name="connsiteY10" fmla="*/ 2202651 h 2812217"/>
                <a:gd name="connsiteX11" fmla="*/ 916017 w 2828737"/>
                <a:gd name="connsiteY11" fmla="*/ 2611211 h 2812217"/>
                <a:gd name="connsiteX12" fmla="*/ 697144 w 2828737"/>
                <a:gd name="connsiteY12" fmla="*/ 2800901 h 2812217"/>
                <a:gd name="connsiteX13" fmla="*/ 502591 w 2828737"/>
                <a:gd name="connsiteY13" fmla="*/ 2304792 h 2812217"/>
                <a:gd name="connsiteX14" fmla="*/ 220488 w 2828737"/>
                <a:gd name="connsiteY14" fmla="*/ 1823273 h 2812217"/>
                <a:gd name="connsiteX15" fmla="*/ 98893 w 2828737"/>
                <a:gd name="connsiteY15" fmla="*/ 1088833 h 2812217"/>
                <a:gd name="connsiteX0" fmla="*/ 98893 w 2828737"/>
                <a:gd name="connsiteY0" fmla="*/ 1088833 h 2812217"/>
                <a:gd name="connsiteX1" fmla="*/ 988974 w 2828737"/>
                <a:gd name="connsiteY1" fmla="*/ 116066 h 2812217"/>
                <a:gd name="connsiteX2" fmla="*/ 1621272 w 2828737"/>
                <a:gd name="connsiteY2" fmla="*/ 106339 h 2812217"/>
                <a:gd name="connsiteX3" fmla="*/ 2550264 w 2828737"/>
                <a:gd name="connsiteY3" fmla="*/ 237662 h 2812217"/>
                <a:gd name="connsiteX4" fmla="*/ 2598902 w 2828737"/>
                <a:gd name="connsiteY4" fmla="*/ 378715 h 2812217"/>
                <a:gd name="connsiteX5" fmla="*/ 1548314 w 2828737"/>
                <a:gd name="connsiteY5" fmla="*/ 461399 h 2812217"/>
                <a:gd name="connsiteX6" fmla="*/ 1130024 w 2828737"/>
                <a:gd name="connsiteY6" fmla="*/ 412761 h 2812217"/>
                <a:gd name="connsiteX7" fmla="*/ 400450 w 2828737"/>
                <a:gd name="connsiteY7" fmla="*/ 1225019 h 2812217"/>
                <a:gd name="connsiteX8" fmla="*/ 380996 w 2828737"/>
                <a:gd name="connsiteY8" fmla="*/ 1526577 h 2812217"/>
                <a:gd name="connsiteX9" fmla="*/ 672826 w 2828737"/>
                <a:gd name="connsiteY9" fmla="*/ 1832998 h 2812217"/>
                <a:gd name="connsiteX10" fmla="*/ 809012 w 2828737"/>
                <a:gd name="connsiteY10" fmla="*/ 2202651 h 2812217"/>
                <a:gd name="connsiteX11" fmla="*/ 916017 w 2828737"/>
                <a:gd name="connsiteY11" fmla="*/ 2611211 h 2812217"/>
                <a:gd name="connsiteX12" fmla="*/ 697144 w 2828737"/>
                <a:gd name="connsiteY12" fmla="*/ 2800901 h 2812217"/>
                <a:gd name="connsiteX13" fmla="*/ 502591 w 2828737"/>
                <a:gd name="connsiteY13" fmla="*/ 2304792 h 2812217"/>
                <a:gd name="connsiteX14" fmla="*/ 220488 w 2828737"/>
                <a:gd name="connsiteY14" fmla="*/ 1823273 h 2812217"/>
                <a:gd name="connsiteX15" fmla="*/ 98893 w 2828737"/>
                <a:gd name="connsiteY15" fmla="*/ 1088833 h 2812217"/>
                <a:gd name="connsiteX0" fmla="*/ 113848 w 2843692"/>
                <a:gd name="connsiteY0" fmla="*/ 1088833 h 2812217"/>
                <a:gd name="connsiteX1" fmla="*/ 1003929 w 2843692"/>
                <a:gd name="connsiteY1" fmla="*/ 116066 h 2812217"/>
                <a:gd name="connsiteX2" fmla="*/ 1636227 w 2843692"/>
                <a:gd name="connsiteY2" fmla="*/ 106339 h 2812217"/>
                <a:gd name="connsiteX3" fmla="*/ 2565219 w 2843692"/>
                <a:gd name="connsiteY3" fmla="*/ 237662 h 2812217"/>
                <a:gd name="connsiteX4" fmla="*/ 2613857 w 2843692"/>
                <a:gd name="connsiteY4" fmla="*/ 378715 h 2812217"/>
                <a:gd name="connsiteX5" fmla="*/ 1563269 w 2843692"/>
                <a:gd name="connsiteY5" fmla="*/ 461399 h 2812217"/>
                <a:gd name="connsiteX6" fmla="*/ 1144979 w 2843692"/>
                <a:gd name="connsiteY6" fmla="*/ 412761 h 2812217"/>
                <a:gd name="connsiteX7" fmla="*/ 415405 w 2843692"/>
                <a:gd name="connsiteY7" fmla="*/ 1225019 h 2812217"/>
                <a:gd name="connsiteX8" fmla="*/ 395951 w 2843692"/>
                <a:gd name="connsiteY8" fmla="*/ 1526577 h 2812217"/>
                <a:gd name="connsiteX9" fmla="*/ 687781 w 2843692"/>
                <a:gd name="connsiteY9" fmla="*/ 1832998 h 2812217"/>
                <a:gd name="connsiteX10" fmla="*/ 823967 w 2843692"/>
                <a:gd name="connsiteY10" fmla="*/ 2202651 h 2812217"/>
                <a:gd name="connsiteX11" fmla="*/ 930972 w 2843692"/>
                <a:gd name="connsiteY11" fmla="*/ 2611211 h 2812217"/>
                <a:gd name="connsiteX12" fmla="*/ 712099 w 2843692"/>
                <a:gd name="connsiteY12" fmla="*/ 2800901 h 2812217"/>
                <a:gd name="connsiteX13" fmla="*/ 517546 w 2843692"/>
                <a:gd name="connsiteY13" fmla="*/ 2304792 h 2812217"/>
                <a:gd name="connsiteX14" fmla="*/ 235443 w 2843692"/>
                <a:gd name="connsiteY14" fmla="*/ 1823273 h 2812217"/>
                <a:gd name="connsiteX15" fmla="*/ 113848 w 2843692"/>
                <a:gd name="connsiteY15" fmla="*/ 1088833 h 2812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843692" h="2812217">
                  <a:moveTo>
                    <a:pt x="113848" y="1088833"/>
                  </a:moveTo>
                  <a:lnTo>
                    <a:pt x="1003929" y="116066"/>
                  </a:lnTo>
                  <a:cubicBezTo>
                    <a:pt x="1251983" y="-91457"/>
                    <a:pt x="1490314" y="26896"/>
                    <a:pt x="1636227" y="106339"/>
                  </a:cubicBezTo>
                  <a:cubicBezTo>
                    <a:pt x="1825916" y="223070"/>
                    <a:pt x="1874554" y="480854"/>
                    <a:pt x="2565219" y="237662"/>
                  </a:cubicBezTo>
                  <a:cubicBezTo>
                    <a:pt x="3046738" y="163893"/>
                    <a:pt x="2795440" y="263604"/>
                    <a:pt x="2613857" y="378715"/>
                  </a:cubicBezTo>
                  <a:cubicBezTo>
                    <a:pt x="2403090" y="493827"/>
                    <a:pt x="2291223" y="900764"/>
                    <a:pt x="1563269" y="461399"/>
                  </a:cubicBezTo>
                  <a:cubicBezTo>
                    <a:pt x="1360609" y="231178"/>
                    <a:pt x="1206588" y="331698"/>
                    <a:pt x="1144979" y="412761"/>
                  </a:cubicBezTo>
                  <a:lnTo>
                    <a:pt x="415405" y="1225019"/>
                  </a:lnTo>
                  <a:cubicBezTo>
                    <a:pt x="284893" y="1340129"/>
                    <a:pt x="343260" y="1447946"/>
                    <a:pt x="395951" y="1526577"/>
                  </a:cubicBezTo>
                  <a:cubicBezTo>
                    <a:pt x="477016" y="1650605"/>
                    <a:pt x="559701" y="1661953"/>
                    <a:pt x="687781" y="1832998"/>
                  </a:cubicBezTo>
                  <a:cubicBezTo>
                    <a:pt x="827211" y="1950541"/>
                    <a:pt x="796405" y="2086730"/>
                    <a:pt x="823967" y="2202651"/>
                  </a:cubicBezTo>
                  <a:cubicBezTo>
                    <a:pt x="846664" y="2401257"/>
                    <a:pt x="910706" y="2530959"/>
                    <a:pt x="930972" y="2611211"/>
                  </a:cubicBezTo>
                  <a:cubicBezTo>
                    <a:pt x="836126" y="2696329"/>
                    <a:pt x="693454" y="2856024"/>
                    <a:pt x="712099" y="2800901"/>
                  </a:cubicBezTo>
                  <a:cubicBezTo>
                    <a:pt x="643195" y="2749831"/>
                    <a:pt x="569426" y="2548794"/>
                    <a:pt x="517546" y="2304792"/>
                  </a:cubicBezTo>
                  <a:cubicBezTo>
                    <a:pt x="528895" y="1968378"/>
                    <a:pt x="341637" y="1955407"/>
                    <a:pt x="235443" y="1823273"/>
                  </a:cubicBezTo>
                  <a:cubicBezTo>
                    <a:pt x="-70169" y="1523337"/>
                    <a:pt x="-41500" y="1310720"/>
                    <a:pt x="113848" y="1088833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45" name="Freeform 222">
              <a:extLst>
                <a:ext uri="{FF2B5EF4-FFF2-40B4-BE49-F238E27FC236}">
                  <a16:creationId xmlns:a16="http://schemas.microsoft.com/office/drawing/2014/main" id="{EBFF6D91-664C-442B-A869-78894B401BB5}"/>
                </a:ext>
              </a:extLst>
            </p:cNvPr>
            <p:cNvSpPr/>
            <p:nvPr/>
          </p:nvSpPr>
          <p:spPr>
            <a:xfrm rot="13561719">
              <a:off x="5115650" y="2381859"/>
              <a:ext cx="254397" cy="115152"/>
            </a:xfrm>
            <a:custGeom>
              <a:avLst/>
              <a:gdLst>
                <a:gd name="connsiteX0" fmla="*/ 2919340 w 3034342"/>
                <a:gd name="connsiteY0" fmla="*/ 983691 h 1373490"/>
                <a:gd name="connsiteX1" fmla="*/ 2641702 w 3034342"/>
                <a:gd name="connsiteY1" fmla="*/ 1098692 h 1373490"/>
                <a:gd name="connsiteX2" fmla="*/ 2641703 w 3034342"/>
                <a:gd name="connsiteY2" fmla="*/ 1098691 h 1373490"/>
                <a:gd name="connsiteX3" fmla="*/ 2279920 w 3034342"/>
                <a:gd name="connsiteY3" fmla="*/ 858885 h 1373490"/>
                <a:gd name="connsiteX4" fmla="*/ 2265342 w 3034342"/>
                <a:gd name="connsiteY4" fmla="*/ 811923 h 1373490"/>
                <a:gd name="connsiteX5" fmla="*/ 2261956 w 3034342"/>
                <a:gd name="connsiteY5" fmla="*/ 822831 h 1373490"/>
                <a:gd name="connsiteX6" fmla="*/ 2174458 w 3034342"/>
                <a:gd name="connsiteY6" fmla="*/ 952607 h 1373490"/>
                <a:gd name="connsiteX7" fmla="*/ 1885762 w 3034342"/>
                <a:gd name="connsiteY7" fmla="*/ 1072190 h 1373490"/>
                <a:gd name="connsiteX8" fmla="*/ 1885762 w 3034342"/>
                <a:gd name="connsiteY8" fmla="*/ 1072189 h 1373490"/>
                <a:gd name="connsiteX9" fmla="*/ 1547211 w 3034342"/>
                <a:gd name="connsiteY9" fmla="*/ 892182 h 1373490"/>
                <a:gd name="connsiteX10" fmla="*/ 1543596 w 3034342"/>
                <a:gd name="connsiteY10" fmla="*/ 885521 h 1373490"/>
                <a:gd name="connsiteX11" fmla="*/ 1540499 w 3034342"/>
                <a:gd name="connsiteY11" fmla="*/ 916235 h 1373490"/>
                <a:gd name="connsiteX12" fmla="*/ 1433405 w 3034342"/>
                <a:gd name="connsiteY12" fmla="*/ 1114872 h 1373490"/>
                <a:gd name="connsiteX13" fmla="*/ 1155585 w 3034342"/>
                <a:gd name="connsiteY13" fmla="*/ 1229949 h 1373490"/>
                <a:gd name="connsiteX14" fmla="*/ 1114820 w 3034342"/>
                <a:gd name="connsiteY14" fmla="*/ 1229949 h 1373490"/>
                <a:gd name="connsiteX15" fmla="*/ 789023 w 3034342"/>
                <a:gd name="connsiteY15" fmla="*/ 1056724 h 1373490"/>
                <a:gd name="connsiteX16" fmla="*/ 787530 w 3034342"/>
                <a:gd name="connsiteY16" fmla="*/ 1053973 h 1373490"/>
                <a:gd name="connsiteX17" fmla="*/ 768370 w 3034342"/>
                <a:gd name="connsiteY17" fmla="*/ 1118431 h 1373490"/>
                <a:gd name="connsiteX18" fmla="*/ 399898 w 3034342"/>
                <a:gd name="connsiteY18" fmla="*/ 1373490 h 1373490"/>
                <a:gd name="connsiteX19" fmla="*/ 0 w 3034342"/>
                <a:gd name="connsiteY19" fmla="*/ 955877 h 1373490"/>
                <a:gd name="connsiteX20" fmla="*/ 399898 w 3034342"/>
                <a:gd name="connsiteY20" fmla="*/ 538264 h 1373490"/>
                <a:gd name="connsiteX21" fmla="*/ 682669 w 3034342"/>
                <a:gd name="connsiteY21" fmla="*/ 660580 h 1373490"/>
                <a:gd name="connsiteX22" fmla="*/ 721923 w 3034342"/>
                <a:gd name="connsiteY22" fmla="*/ 710264 h 1373490"/>
                <a:gd name="connsiteX23" fmla="*/ 721923 w 3034342"/>
                <a:gd name="connsiteY23" fmla="*/ 662287 h 1373490"/>
                <a:gd name="connsiteX24" fmla="*/ 1114820 w 3034342"/>
                <a:gd name="connsiteY24" fmla="*/ 269390 h 1373490"/>
                <a:gd name="connsiteX25" fmla="*/ 1155585 w 3034342"/>
                <a:gd name="connsiteY25" fmla="*/ 269390 h 1373490"/>
                <a:gd name="connsiteX26" fmla="*/ 1433405 w 3034342"/>
                <a:gd name="connsiteY26" fmla="*/ 384467 h 1373490"/>
                <a:gd name="connsiteX27" fmla="*/ 1477483 w 3034342"/>
                <a:gd name="connsiteY27" fmla="*/ 437891 h 1373490"/>
                <a:gd name="connsiteX28" fmla="*/ 1477483 w 3034342"/>
                <a:gd name="connsiteY28" fmla="*/ 408279 h 1373490"/>
                <a:gd name="connsiteX29" fmla="*/ 1885762 w 3034342"/>
                <a:gd name="connsiteY29" fmla="*/ 0 h 1373490"/>
                <a:gd name="connsiteX30" fmla="*/ 2285747 w 3034342"/>
                <a:gd name="connsiteY30" fmla="*/ 325996 h 1373490"/>
                <a:gd name="connsiteX31" fmla="*/ 2290609 w 3034342"/>
                <a:gd name="connsiteY31" fmla="*/ 374229 h 1373490"/>
                <a:gd name="connsiteX32" fmla="*/ 2316121 w 3034342"/>
                <a:gd name="connsiteY32" fmla="*/ 327227 h 1373490"/>
                <a:gd name="connsiteX33" fmla="*/ 2641703 w 3034342"/>
                <a:gd name="connsiteY33" fmla="*/ 154117 h 1373490"/>
                <a:gd name="connsiteX34" fmla="*/ 3034342 w 3034342"/>
                <a:gd name="connsiteY34" fmla="*/ 546756 h 1373490"/>
                <a:gd name="connsiteX35" fmla="*/ 3034341 w 3034342"/>
                <a:gd name="connsiteY35" fmla="*/ 706053 h 1373490"/>
                <a:gd name="connsiteX36" fmla="*/ 2919340 w 3034342"/>
                <a:gd name="connsiteY36" fmla="*/ 983691 h 1373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034342" h="1373490">
                  <a:moveTo>
                    <a:pt x="2919340" y="983691"/>
                  </a:moveTo>
                  <a:cubicBezTo>
                    <a:pt x="2848286" y="1054744"/>
                    <a:pt x="2750127" y="1098692"/>
                    <a:pt x="2641702" y="1098692"/>
                  </a:cubicBezTo>
                  <a:lnTo>
                    <a:pt x="2641703" y="1098691"/>
                  </a:lnTo>
                  <a:cubicBezTo>
                    <a:pt x="2479067" y="1098691"/>
                    <a:pt x="2339525" y="999809"/>
                    <a:pt x="2279920" y="858885"/>
                  </a:cubicBezTo>
                  <a:lnTo>
                    <a:pt x="2265342" y="811923"/>
                  </a:lnTo>
                  <a:lnTo>
                    <a:pt x="2261956" y="822831"/>
                  </a:lnTo>
                  <a:cubicBezTo>
                    <a:pt x="2241296" y="871677"/>
                    <a:pt x="2211400" y="915665"/>
                    <a:pt x="2174458" y="952607"/>
                  </a:cubicBezTo>
                  <a:cubicBezTo>
                    <a:pt x="2100574" y="1026491"/>
                    <a:pt x="1998504" y="1072190"/>
                    <a:pt x="1885762" y="1072190"/>
                  </a:cubicBezTo>
                  <a:lnTo>
                    <a:pt x="1885762" y="1072189"/>
                  </a:lnTo>
                  <a:cubicBezTo>
                    <a:pt x="1744834" y="1072189"/>
                    <a:pt x="1620582" y="1000785"/>
                    <a:pt x="1547211" y="892182"/>
                  </a:cubicBezTo>
                  <a:lnTo>
                    <a:pt x="1543596" y="885521"/>
                  </a:lnTo>
                  <a:lnTo>
                    <a:pt x="1540499" y="916235"/>
                  </a:lnTo>
                  <a:cubicBezTo>
                    <a:pt x="1524798" y="992965"/>
                    <a:pt x="1486730" y="1061547"/>
                    <a:pt x="1433405" y="1114872"/>
                  </a:cubicBezTo>
                  <a:cubicBezTo>
                    <a:pt x="1362305" y="1185973"/>
                    <a:pt x="1264080" y="1229949"/>
                    <a:pt x="1155585" y="1229949"/>
                  </a:cubicBezTo>
                  <a:lnTo>
                    <a:pt x="1114820" y="1229949"/>
                  </a:lnTo>
                  <a:cubicBezTo>
                    <a:pt x="979200" y="1229949"/>
                    <a:pt x="859630" y="1161236"/>
                    <a:pt x="789023" y="1056724"/>
                  </a:cubicBezTo>
                  <a:lnTo>
                    <a:pt x="787530" y="1053973"/>
                  </a:lnTo>
                  <a:lnTo>
                    <a:pt x="768370" y="1118431"/>
                  </a:lnTo>
                  <a:cubicBezTo>
                    <a:pt x="707662" y="1268318"/>
                    <a:pt x="565541" y="1373490"/>
                    <a:pt x="399898" y="1373490"/>
                  </a:cubicBezTo>
                  <a:cubicBezTo>
                    <a:pt x="179040" y="1373490"/>
                    <a:pt x="0" y="1186518"/>
                    <a:pt x="0" y="955877"/>
                  </a:cubicBezTo>
                  <a:cubicBezTo>
                    <a:pt x="0" y="725236"/>
                    <a:pt x="179040" y="538264"/>
                    <a:pt x="399898" y="538264"/>
                  </a:cubicBezTo>
                  <a:cubicBezTo>
                    <a:pt x="510327" y="538264"/>
                    <a:pt x="610301" y="585007"/>
                    <a:pt x="682669" y="660580"/>
                  </a:cubicBezTo>
                  <a:lnTo>
                    <a:pt x="721923" y="710264"/>
                  </a:lnTo>
                  <a:lnTo>
                    <a:pt x="721923" y="662287"/>
                  </a:lnTo>
                  <a:cubicBezTo>
                    <a:pt x="721923" y="445296"/>
                    <a:pt x="897829" y="269390"/>
                    <a:pt x="1114820" y="269390"/>
                  </a:cubicBezTo>
                  <a:lnTo>
                    <a:pt x="1155585" y="269390"/>
                  </a:lnTo>
                  <a:cubicBezTo>
                    <a:pt x="1264080" y="269390"/>
                    <a:pt x="1362304" y="313367"/>
                    <a:pt x="1433405" y="384467"/>
                  </a:cubicBezTo>
                  <a:lnTo>
                    <a:pt x="1477483" y="437891"/>
                  </a:lnTo>
                  <a:lnTo>
                    <a:pt x="1477483" y="408279"/>
                  </a:lnTo>
                  <a:cubicBezTo>
                    <a:pt x="1477483" y="182793"/>
                    <a:pt x="1660277" y="0"/>
                    <a:pt x="1885762" y="0"/>
                  </a:cubicBezTo>
                  <a:cubicBezTo>
                    <a:pt x="2083063" y="0"/>
                    <a:pt x="2247676" y="139951"/>
                    <a:pt x="2285747" y="325996"/>
                  </a:cubicBezTo>
                  <a:lnTo>
                    <a:pt x="2290609" y="374229"/>
                  </a:lnTo>
                  <a:lnTo>
                    <a:pt x="2316121" y="327227"/>
                  </a:lnTo>
                  <a:cubicBezTo>
                    <a:pt x="2386681" y="222784"/>
                    <a:pt x="2506173" y="154117"/>
                    <a:pt x="2641703" y="154117"/>
                  </a:cubicBezTo>
                  <a:cubicBezTo>
                    <a:pt x="2858552" y="154117"/>
                    <a:pt x="3034342" y="329907"/>
                    <a:pt x="3034342" y="546756"/>
                  </a:cubicBezTo>
                  <a:cubicBezTo>
                    <a:pt x="3034342" y="599855"/>
                    <a:pt x="3034341" y="652954"/>
                    <a:pt x="3034341" y="706053"/>
                  </a:cubicBezTo>
                  <a:cubicBezTo>
                    <a:pt x="3034341" y="814477"/>
                    <a:pt x="2990394" y="912637"/>
                    <a:pt x="2919340" y="98369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148" name="Rectangle 4">
              <a:extLst>
                <a:ext uri="{FF2B5EF4-FFF2-40B4-BE49-F238E27FC236}">
                  <a16:creationId xmlns:a16="http://schemas.microsoft.com/office/drawing/2014/main" id="{924EF461-AA9E-4636-911E-28202110A6F1}"/>
                </a:ext>
              </a:extLst>
            </p:cNvPr>
            <p:cNvSpPr/>
            <p:nvPr/>
          </p:nvSpPr>
          <p:spPr>
            <a:xfrm>
              <a:off x="5368159" y="2229222"/>
              <a:ext cx="186120" cy="304197"/>
            </a:xfrm>
            <a:custGeom>
              <a:avLst/>
              <a:gdLst>
                <a:gd name="connsiteX0" fmla="*/ 0 w 1431890"/>
                <a:gd name="connsiteY0" fmla="*/ 0 h 2160396"/>
                <a:gd name="connsiteX1" fmla="*/ 1431890 w 1431890"/>
                <a:gd name="connsiteY1" fmla="*/ 0 h 2160396"/>
                <a:gd name="connsiteX2" fmla="*/ 1431890 w 1431890"/>
                <a:gd name="connsiteY2" fmla="*/ 2160396 h 2160396"/>
                <a:gd name="connsiteX3" fmla="*/ 0 w 1431890"/>
                <a:gd name="connsiteY3" fmla="*/ 2160396 h 2160396"/>
                <a:gd name="connsiteX4" fmla="*/ 0 w 1431890"/>
                <a:gd name="connsiteY4" fmla="*/ 0 h 2160396"/>
                <a:gd name="connsiteX0" fmla="*/ 266282 w 1698172"/>
                <a:gd name="connsiteY0" fmla="*/ 0 h 2356338"/>
                <a:gd name="connsiteX1" fmla="*/ 1698172 w 1698172"/>
                <a:gd name="connsiteY1" fmla="*/ 0 h 2356338"/>
                <a:gd name="connsiteX2" fmla="*/ 1698172 w 1698172"/>
                <a:gd name="connsiteY2" fmla="*/ 2160396 h 2356338"/>
                <a:gd name="connsiteX3" fmla="*/ 0 w 1698172"/>
                <a:gd name="connsiteY3" fmla="*/ 2356338 h 2356338"/>
                <a:gd name="connsiteX4" fmla="*/ 266282 w 1698172"/>
                <a:gd name="connsiteY4" fmla="*/ 0 h 2356338"/>
                <a:gd name="connsiteX0" fmla="*/ 266282 w 1698172"/>
                <a:gd name="connsiteY0" fmla="*/ 0 h 2356338"/>
                <a:gd name="connsiteX1" fmla="*/ 1698172 w 1698172"/>
                <a:gd name="connsiteY1" fmla="*/ 0 h 2356338"/>
                <a:gd name="connsiteX2" fmla="*/ 839038 w 1698172"/>
                <a:gd name="connsiteY2" fmla="*/ 2105130 h 2356338"/>
                <a:gd name="connsiteX3" fmla="*/ 0 w 1698172"/>
                <a:gd name="connsiteY3" fmla="*/ 2356338 h 2356338"/>
                <a:gd name="connsiteX4" fmla="*/ 266282 w 1698172"/>
                <a:gd name="connsiteY4" fmla="*/ 0 h 2356338"/>
                <a:gd name="connsiteX0" fmla="*/ 266282 w 1698172"/>
                <a:gd name="connsiteY0" fmla="*/ 0 h 2392578"/>
                <a:gd name="connsiteX1" fmla="*/ 1698172 w 1698172"/>
                <a:gd name="connsiteY1" fmla="*/ 0 h 2392578"/>
                <a:gd name="connsiteX2" fmla="*/ 839038 w 1698172"/>
                <a:gd name="connsiteY2" fmla="*/ 2105130 h 2392578"/>
                <a:gd name="connsiteX3" fmla="*/ 0 w 1698172"/>
                <a:gd name="connsiteY3" fmla="*/ 2356338 h 2392578"/>
                <a:gd name="connsiteX4" fmla="*/ 266282 w 1698172"/>
                <a:gd name="connsiteY4" fmla="*/ 0 h 2392578"/>
                <a:gd name="connsiteX0" fmla="*/ 266282 w 1698172"/>
                <a:gd name="connsiteY0" fmla="*/ 0 h 2464004"/>
                <a:gd name="connsiteX1" fmla="*/ 1698172 w 1698172"/>
                <a:gd name="connsiteY1" fmla="*/ 0 h 2464004"/>
                <a:gd name="connsiteX2" fmla="*/ 839038 w 1698172"/>
                <a:gd name="connsiteY2" fmla="*/ 2105130 h 2464004"/>
                <a:gd name="connsiteX3" fmla="*/ 0 w 1698172"/>
                <a:gd name="connsiteY3" fmla="*/ 2356338 h 2464004"/>
                <a:gd name="connsiteX4" fmla="*/ 266282 w 1698172"/>
                <a:gd name="connsiteY4" fmla="*/ 0 h 2464004"/>
                <a:gd name="connsiteX0" fmla="*/ 266282 w 1698172"/>
                <a:gd name="connsiteY0" fmla="*/ 0 h 2458914"/>
                <a:gd name="connsiteX1" fmla="*/ 1698172 w 1698172"/>
                <a:gd name="connsiteY1" fmla="*/ 0 h 2458914"/>
                <a:gd name="connsiteX2" fmla="*/ 839038 w 1698172"/>
                <a:gd name="connsiteY2" fmla="*/ 2105130 h 2458914"/>
                <a:gd name="connsiteX3" fmla="*/ 0 w 1698172"/>
                <a:gd name="connsiteY3" fmla="*/ 2356338 h 2458914"/>
                <a:gd name="connsiteX4" fmla="*/ 266282 w 1698172"/>
                <a:gd name="connsiteY4" fmla="*/ 0 h 2458914"/>
                <a:gd name="connsiteX0" fmla="*/ 266282 w 1698172"/>
                <a:gd name="connsiteY0" fmla="*/ 0 h 2458914"/>
                <a:gd name="connsiteX1" fmla="*/ 1698172 w 1698172"/>
                <a:gd name="connsiteY1" fmla="*/ 0 h 2458914"/>
                <a:gd name="connsiteX2" fmla="*/ 839038 w 1698172"/>
                <a:gd name="connsiteY2" fmla="*/ 2105130 h 2458914"/>
                <a:gd name="connsiteX3" fmla="*/ 0 w 1698172"/>
                <a:gd name="connsiteY3" fmla="*/ 2356338 h 2458914"/>
                <a:gd name="connsiteX4" fmla="*/ 90436 w 1698172"/>
                <a:gd name="connsiteY4" fmla="*/ 1502229 h 2458914"/>
                <a:gd name="connsiteX5" fmla="*/ 266282 w 1698172"/>
                <a:gd name="connsiteY5" fmla="*/ 0 h 2458914"/>
                <a:gd name="connsiteX0" fmla="*/ 266282 w 1698172"/>
                <a:gd name="connsiteY0" fmla="*/ 0 h 2458914"/>
                <a:gd name="connsiteX1" fmla="*/ 1698172 w 1698172"/>
                <a:gd name="connsiteY1" fmla="*/ 0 h 2458914"/>
                <a:gd name="connsiteX2" fmla="*/ 839038 w 1698172"/>
                <a:gd name="connsiteY2" fmla="*/ 2105130 h 2458914"/>
                <a:gd name="connsiteX3" fmla="*/ 0 w 1698172"/>
                <a:gd name="connsiteY3" fmla="*/ 2356338 h 2458914"/>
                <a:gd name="connsiteX4" fmla="*/ 542612 w 1698172"/>
                <a:gd name="connsiteY4" fmla="*/ 1924260 h 2458914"/>
                <a:gd name="connsiteX5" fmla="*/ 266282 w 1698172"/>
                <a:gd name="connsiteY5" fmla="*/ 0 h 2458914"/>
                <a:gd name="connsiteX0" fmla="*/ 266282 w 1698172"/>
                <a:gd name="connsiteY0" fmla="*/ 0 h 2458914"/>
                <a:gd name="connsiteX1" fmla="*/ 1698172 w 1698172"/>
                <a:gd name="connsiteY1" fmla="*/ 0 h 2458914"/>
                <a:gd name="connsiteX2" fmla="*/ 839038 w 1698172"/>
                <a:gd name="connsiteY2" fmla="*/ 2105130 h 2458914"/>
                <a:gd name="connsiteX3" fmla="*/ 0 w 1698172"/>
                <a:gd name="connsiteY3" fmla="*/ 2356338 h 2458914"/>
                <a:gd name="connsiteX4" fmla="*/ 226089 w 1698172"/>
                <a:gd name="connsiteY4" fmla="*/ 2170444 h 2458914"/>
                <a:gd name="connsiteX5" fmla="*/ 542612 w 1698172"/>
                <a:gd name="connsiteY5" fmla="*/ 1924260 h 2458914"/>
                <a:gd name="connsiteX6" fmla="*/ 266282 w 1698172"/>
                <a:gd name="connsiteY6" fmla="*/ 0 h 2458914"/>
                <a:gd name="connsiteX0" fmla="*/ 266282 w 1698172"/>
                <a:gd name="connsiteY0" fmla="*/ 0 h 2458914"/>
                <a:gd name="connsiteX1" fmla="*/ 1698172 w 1698172"/>
                <a:gd name="connsiteY1" fmla="*/ 0 h 2458914"/>
                <a:gd name="connsiteX2" fmla="*/ 839038 w 1698172"/>
                <a:gd name="connsiteY2" fmla="*/ 2105130 h 2458914"/>
                <a:gd name="connsiteX3" fmla="*/ 0 w 1698172"/>
                <a:gd name="connsiteY3" fmla="*/ 2356338 h 2458914"/>
                <a:gd name="connsiteX4" fmla="*/ 110533 w 1698172"/>
                <a:gd name="connsiteY4" fmla="*/ 2044840 h 2458914"/>
                <a:gd name="connsiteX5" fmla="*/ 542612 w 1698172"/>
                <a:gd name="connsiteY5" fmla="*/ 1924260 h 2458914"/>
                <a:gd name="connsiteX6" fmla="*/ 266282 w 1698172"/>
                <a:gd name="connsiteY6" fmla="*/ 0 h 2458914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864159 w 1723293"/>
                <a:gd name="connsiteY2" fmla="*/ 2105130 h 2453208"/>
                <a:gd name="connsiteX3" fmla="*/ 0 w 1723293"/>
                <a:gd name="connsiteY3" fmla="*/ 2346290 h 2453208"/>
                <a:gd name="connsiteX4" fmla="*/ 135654 w 1723293"/>
                <a:gd name="connsiteY4" fmla="*/ 2044840 h 2453208"/>
                <a:gd name="connsiteX5" fmla="*/ 567733 w 1723293"/>
                <a:gd name="connsiteY5" fmla="*/ 1924260 h 2453208"/>
                <a:gd name="connsiteX6" fmla="*/ 291403 w 1723293"/>
                <a:gd name="connsiteY6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864159 w 1723293"/>
                <a:gd name="connsiteY2" fmla="*/ 2105130 h 2453208"/>
                <a:gd name="connsiteX3" fmla="*/ 0 w 1723293"/>
                <a:gd name="connsiteY3" fmla="*/ 2346290 h 2453208"/>
                <a:gd name="connsiteX4" fmla="*/ 135654 w 1723293"/>
                <a:gd name="connsiteY4" fmla="*/ 2044840 h 2453208"/>
                <a:gd name="connsiteX5" fmla="*/ 567733 w 1723293"/>
                <a:gd name="connsiteY5" fmla="*/ 1924260 h 2453208"/>
                <a:gd name="connsiteX6" fmla="*/ 291403 w 1723293"/>
                <a:gd name="connsiteY6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864159 w 1723293"/>
                <a:gd name="connsiteY2" fmla="*/ 2105130 h 2453208"/>
                <a:gd name="connsiteX3" fmla="*/ 0 w 1723293"/>
                <a:gd name="connsiteY3" fmla="*/ 2346290 h 2453208"/>
                <a:gd name="connsiteX4" fmla="*/ 135654 w 1723293"/>
                <a:gd name="connsiteY4" fmla="*/ 2044840 h 2453208"/>
                <a:gd name="connsiteX5" fmla="*/ 567733 w 1723293"/>
                <a:gd name="connsiteY5" fmla="*/ 1924260 h 2453208"/>
                <a:gd name="connsiteX6" fmla="*/ 291403 w 1723293"/>
                <a:gd name="connsiteY6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864159 w 1723293"/>
                <a:gd name="connsiteY2" fmla="*/ 2105130 h 2453208"/>
                <a:gd name="connsiteX3" fmla="*/ 0 w 1723293"/>
                <a:gd name="connsiteY3" fmla="*/ 2346290 h 2453208"/>
                <a:gd name="connsiteX4" fmla="*/ 135654 w 1723293"/>
                <a:gd name="connsiteY4" fmla="*/ 2044840 h 2453208"/>
                <a:gd name="connsiteX5" fmla="*/ 567733 w 1723293"/>
                <a:gd name="connsiteY5" fmla="*/ 1924260 h 2453208"/>
                <a:gd name="connsiteX6" fmla="*/ 291403 w 1723293"/>
                <a:gd name="connsiteY6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864159 w 1723293"/>
                <a:gd name="connsiteY2" fmla="*/ 2105130 h 2453208"/>
                <a:gd name="connsiteX3" fmla="*/ 0 w 1723293"/>
                <a:gd name="connsiteY3" fmla="*/ 2346290 h 2453208"/>
                <a:gd name="connsiteX4" fmla="*/ 135654 w 1723293"/>
                <a:gd name="connsiteY4" fmla="*/ 2044840 h 2453208"/>
                <a:gd name="connsiteX5" fmla="*/ 567733 w 1723293"/>
                <a:gd name="connsiteY5" fmla="*/ 1924260 h 2453208"/>
                <a:gd name="connsiteX6" fmla="*/ 291403 w 1723293"/>
                <a:gd name="connsiteY6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085224 w 1723293"/>
                <a:gd name="connsiteY2" fmla="*/ 1542422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462037 w 1723293"/>
                <a:gd name="connsiteY2" fmla="*/ 1698172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577593 w 1723293"/>
                <a:gd name="connsiteY2" fmla="*/ 1833824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462037 w 1723293"/>
                <a:gd name="connsiteY2" fmla="*/ 1703195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462037 w 1723293"/>
                <a:gd name="connsiteY2" fmla="*/ 1703195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462037 w 1723293"/>
                <a:gd name="connsiteY2" fmla="*/ 1703195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462037 w 1723293"/>
                <a:gd name="connsiteY2" fmla="*/ 1703195 h 2453208"/>
                <a:gd name="connsiteX3" fmla="*/ 864159 w 1723293"/>
                <a:gd name="connsiteY3" fmla="*/ 2105130 h 2453208"/>
                <a:gd name="connsiteX4" fmla="*/ 0 w 1723293"/>
                <a:gd name="connsiteY4" fmla="*/ 2346290 h 2453208"/>
                <a:gd name="connsiteX5" fmla="*/ 135654 w 1723293"/>
                <a:gd name="connsiteY5" fmla="*/ 2044840 h 2453208"/>
                <a:gd name="connsiteX6" fmla="*/ 567733 w 1723293"/>
                <a:gd name="connsiteY6" fmla="*/ 1924260 h 2453208"/>
                <a:gd name="connsiteX7" fmla="*/ 291403 w 1723293"/>
                <a:gd name="connsiteY7" fmla="*/ 0 h 2453208"/>
                <a:gd name="connsiteX0" fmla="*/ 291403 w 1723293"/>
                <a:gd name="connsiteY0" fmla="*/ 0 h 2453208"/>
                <a:gd name="connsiteX1" fmla="*/ 1723293 w 1723293"/>
                <a:gd name="connsiteY1" fmla="*/ 0 h 2453208"/>
                <a:gd name="connsiteX2" fmla="*/ 1552473 w 1723293"/>
                <a:gd name="connsiteY2" fmla="*/ 1034980 h 2453208"/>
                <a:gd name="connsiteX3" fmla="*/ 1462037 w 1723293"/>
                <a:gd name="connsiteY3" fmla="*/ 1703195 h 2453208"/>
                <a:gd name="connsiteX4" fmla="*/ 864159 w 1723293"/>
                <a:gd name="connsiteY4" fmla="*/ 2105130 h 2453208"/>
                <a:gd name="connsiteX5" fmla="*/ 0 w 1723293"/>
                <a:gd name="connsiteY5" fmla="*/ 2346290 h 2453208"/>
                <a:gd name="connsiteX6" fmla="*/ 135654 w 1723293"/>
                <a:gd name="connsiteY6" fmla="*/ 2044840 h 2453208"/>
                <a:gd name="connsiteX7" fmla="*/ 567733 w 1723293"/>
                <a:gd name="connsiteY7" fmla="*/ 1924260 h 2453208"/>
                <a:gd name="connsiteX8" fmla="*/ 291403 w 1723293"/>
                <a:gd name="connsiteY8" fmla="*/ 0 h 2453208"/>
                <a:gd name="connsiteX0" fmla="*/ 291403 w 1919238"/>
                <a:gd name="connsiteY0" fmla="*/ 0 h 2453208"/>
                <a:gd name="connsiteX1" fmla="*/ 1723293 w 1919238"/>
                <a:gd name="connsiteY1" fmla="*/ 0 h 2453208"/>
                <a:gd name="connsiteX2" fmla="*/ 1919238 w 1919238"/>
                <a:gd name="connsiteY2" fmla="*/ 1065125 h 2453208"/>
                <a:gd name="connsiteX3" fmla="*/ 1462037 w 1919238"/>
                <a:gd name="connsiteY3" fmla="*/ 1703195 h 2453208"/>
                <a:gd name="connsiteX4" fmla="*/ 864159 w 1919238"/>
                <a:gd name="connsiteY4" fmla="*/ 2105130 h 2453208"/>
                <a:gd name="connsiteX5" fmla="*/ 0 w 1919238"/>
                <a:gd name="connsiteY5" fmla="*/ 2346290 h 2453208"/>
                <a:gd name="connsiteX6" fmla="*/ 135654 w 1919238"/>
                <a:gd name="connsiteY6" fmla="*/ 2044840 h 2453208"/>
                <a:gd name="connsiteX7" fmla="*/ 567733 w 1919238"/>
                <a:gd name="connsiteY7" fmla="*/ 1924260 h 2453208"/>
                <a:gd name="connsiteX8" fmla="*/ 291403 w 1919238"/>
                <a:gd name="connsiteY8" fmla="*/ 0 h 2453208"/>
                <a:gd name="connsiteX0" fmla="*/ 291403 w 1940010"/>
                <a:gd name="connsiteY0" fmla="*/ 0 h 2453208"/>
                <a:gd name="connsiteX1" fmla="*/ 1723293 w 1940010"/>
                <a:gd name="connsiteY1" fmla="*/ 0 h 2453208"/>
                <a:gd name="connsiteX2" fmla="*/ 1919238 w 1940010"/>
                <a:gd name="connsiteY2" fmla="*/ 1065125 h 2453208"/>
                <a:gd name="connsiteX3" fmla="*/ 1462037 w 1940010"/>
                <a:gd name="connsiteY3" fmla="*/ 1703195 h 2453208"/>
                <a:gd name="connsiteX4" fmla="*/ 864159 w 1940010"/>
                <a:gd name="connsiteY4" fmla="*/ 2105130 h 2453208"/>
                <a:gd name="connsiteX5" fmla="*/ 0 w 1940010"/>
                <a:gd name="connsiteY5" fmla="*/ 2346290 h 2453208"/>
                <a:gd name="connsiteX6" fmla="*/ 135654 w 1940010"/>
                <a:gd name="connsiteY6" fmla="*/ 2044840 h 2453208"/>
                <a:gd name="connsiteX7" fmla="*/ 567733 w 1940010"/>
                <a:gd name="connsiteY7" fmla="*/ 1924260 h 2453208"/>
                <a:gd name="connsiteX8" fmla="*/ 291403 w 1940010"/>
                <a:gd name="connsiteY8" fmla="*/ 0 h 2453208"/>
                <a:gd name="connsiteX0" fmla="*/ 291403 w 1939235"/>
                <a:gd name="connsiteY0" fmla="*/ 0 h 2453208"/>
                <a:gd name="connsiteX1" fmla="*/ 1723293 w 1939235"/>
                <a:gd name="connsiteY1" fmla="*/ 0 h 2453208"/>
                <a:gd name="connsiteX2" fmla="*/ 1919238 w 1939235"/>
                <a:gd name="connsiteY2" fmla="*/ 1065125 h 2453208"/>
                <a:gd name="connsiteX3" fmla="*/ 1441941 w 1939235"/>
                <a:gd name="connsiteY3" fmla="*/ 1713244 h 2453208"/>
                <a:gd name="connsiteX4" fmla="*/ 864159 w 1939235"/>
                <a:gd name="connsiteY4" fmla="*/ 2105130 h 2453208"/>
                <a:gd name="connsiteX5" fmla="*/ 0 w 1939235"/>
                <a:gd name="connsiteY5" fmla="*/ 2346290 h 2453208"/>
                <a:gd name="connsiteX6" fmla="*/ 135654 w 1939235"/>
                <a:gd name="connsiteY6" fmla="*/ 2044840 h 2453208"/>
                <a:gd name="connsiteX7" fmla="*/ 567733 w 1939235"/>
                <a:gd name="connsiteY7" fmla="*/ 1924260 h 2453208"/>
                <a:gd name="connsiteX8" fmla="*/ 291403 w 1939235"/>
                <a:gd name="connsiteY8" fmla="*/ 0 h 2453208"/>
                <a:gd name="connsiteX0" fmla="*/ 291403 w 1938883"/>
                <a:gd name="connsiteY0" fmla="*/ 0 h 2453208"/>
                <a:gd name="connsiteX1" fmla="*/ 1723293 w 1938883"/>
                <a:gd name="connsiteY1" fmla="*/ 0 h 2453208"/>
                <a:gd name="connsiteX2" fmla="*/ 1919238 w 1938883"/>
                <a:gd name="connsiteY2" fmla="*/ 1065125 h 2453208"/>
                <a:gd name="connsiteX3" fmla="*/ 1441941 w 1938883"/>
                <a:gd name="connsiteY3" fmla="*/ 1713244 h 2453208"/>
                <a:gd name="connsiteX4" fmla="*/ 864159 w 1938883"/>
                <a:gd name="connsiteY4" fmla="*/ 2105130 h 2453208"/>
                <a:gd name="connsiteX5" fmla="*/ 0 w 1938883"/>
                <a:gd name="connsiteY5" fmla="*/ 2346290 h 2453208"/>
                <a:gd name="connsiteX6" fmla="*/ 135654 w 1938883"/>
                <a:gd name="connsiteY6" fmla="*/ 2044840 h 2453208"/>
                <a:gd name="connsiteX7" fmla="*/ 567733 w 1938883"/>
                <a:gd name="connsiteY7" fmla="*/ 1924260 h 2453208"/>
                <a:gd name="connsiteX8" fmla="*/ 291403 w 1938883"/>
                <a:gd name="connsiteY8" fmla="*/ 0 h 2453208"/>
                <a:gd name="connsiteX0" fmla="*/ 291403 w 1938704"/>
                <a:gd name="connsiteY0" fmla="*/ 0 h 2453208"/>
                <a:gd name="connsiteX1" fmla="*/ 1723293 w 1938704"/>
                <a:gd name="connsiteY1" fmla="*/ 0 h 2453208"/>
                <a:gd name="connsiteX2" fmla="*/ 1919238 w 1938704"/>
                <a:gd name="connsiteY2" fmla="*/ 1065125 h 2453208"/>
                <a:gd name="connsiteX3" fmla="*/ 1436916 w 1938704"/>
                <a:gd name="connsiteY3" fmla="*/ 1693147 h 2453208"/>
                <a:gd name="connsiteX4" fmla="*/ 864159 w 1938704"/>
                <a:gd name="connsiteY4" fmla="*/ 2105130 h 2453208"/>
                <a:gd name="connsiteX5" fmla="*/ 0 w 1938704"/>
                <a:gd name="connsiteY5" fmla="*/ 2346290 h 2453208"/>
                <a:gd name="connsiteX6" fmla="*/ 135654 w 1938704"/>
                <a:gd name="connsiteY6" fmla="*/ 2044840 h 2453208"/>
                <a:gd name="connsiteX7" fmla="*/ 567733 w 1938704"/>
                <a:gd name="connsiteY7" fmla="*/ 1924260 h 2453208"/>
                <a:gd name="connsiteX8" fmla="*/ 291403 w 1938704"/>
                <a:gd name="connsiteY8" fmla="*/ 0 h 2453208"/>
                <a:gd name="connsiteX0" fmla="*/ 291403 w 1938704"/>
                <a:gd name="connsiteY0" fmla="*/ 0 h 2453208"/>
                <a:gd name="connsiteX1" fmla="*/ 1723293 w 1938704"/>
                <a:gd name="connsiteY1" fmla="*/ 0 h 2453208"/>
                <a:gd name="connsiteX2" fmla="*/ 1919238 w 1938704"/>
                <a:gd name="connsiteY2" fmla="*/ 1065125 h 2453208"/>
                <a:gd name="connsiteX3" fmla="*/ 1436916 w 1938704"/>
                <a:gd name="connsiteY3" fmla="*/ 1693147 h 2453208"/>
                <a:gd name="connsiteX4" fmla="*/ 864159 w 1938704"/>
                <a:gd name="connsiteY4" fmla="*/ 2105130 h 2453208"/>
                <a:gd name="connsiteX5" fmla="*/ 0 w 1938704"/>
                <a:gd name="connsiteY5" fmla="*/ 2346290 h 2453208"/>
                <a:gd name="connsiteX6" fmla="*/ 135654 w 1938704"/>
                <a:gd name="connsiteY6" fmla="*/ 2044840 h 2453208"/>
                <a:gd name="connsiteX7" fmla="*/ 567733 w 1938704"/>
                <a:gd name="connsiteY7" fmla="*/ 1924260 h 2453208"/>
                <a:gd name="connsiteX8" fmla="*/ 291403 w 1938704"/>
                <a:gd name="connsiteY8" fmla="*/ 0 h 2453208"/>
                <a:gd name="connsiteX0" fmla="*/ 291403 w 1938704"/>
                <a:gd name="connsiteY0" fmla="*/ 0 h 2453208"/>
                <a:gd name="connsiteX1" fmla="*/ 1723293 w 1938704"/>
                <a:gd name="connsiteY1" fmla="*/ 0 h 2453208"/>
                <a:gd name="connsiteX2" fmla="*/ 1919238 w 1938704"/>
                <a:gd name="connsiteY2" fmla="*/ 1065125 h 2453208"/>
                <a:gd name="connsiteX3" fmla="*/ 1436916 w 1938704"/>
                <a:gd name="connsiteY3" fmla="*/ 1693147 h 2453208"/>
                <a:gd name="connsiteX4" fmla="*/ 864159 w 1938704"/>
                <a:gd name="connsiteY4" fmla="*/ 2105130 h 2453208"/>
                <a:gd name="connsiteX5" fmla="*/ 0 w 1938704"/>
                <a:gd name="connsiteY5" fmla="*/ 2346290 h 2453208"/>
                <a:gd name="connsiteX6" fmla="*/ 135654 w 1938704"/>
                <a:gd name="connsiteY6" fmla="*/ 2044840 h 2453208"/>
                <a:gd name="connsiteX7" fmla="*/ 567733 w 1938704"/>
                <a:gd name="connsiteY7" fmla="*/ 1924260 h 2453208"/>
                <a:gd name="connsiteX8" fmla="*/ 291403 w 1938704"/>
                <a:gd name="connsiteY8" fmla="*/ 0 h 2453208"/>
                <a:gd name="connsiteX0" fmla="*/ 291403 w 1932387"/>
                <a:gd name="connsiteY0" fmla="*/ 0 h 2453208"/>
                <a:gd name="connsiteX1" fmla="*/ 1723293 w 1932387"/>
                <a:gd name="connsiteY1" fmla="*/ 0 h 2453208"/>
                <a:gd name="connsiteX2" fmla="*/ 1919238 w 1932387"/>
                <a:gd name="connsiteY2" fmla="*/ 1065125 h 2453208"/>
                <a:gd name="connsiteX3" fmla="*/ 1436916 w 1932387"/>
                <a:gd name="connsiteY3" fmla="*/ 1693147 h 2453208"/>
                <a:gd name="connsiteX4" fmla="*/ 864159 w 1932387"/>
                <a:gd name="connsiteY4" fmla="*/ 2105130 h 2453208"/>
                <a:gd name="connsiteX5" fmla="*/ 0 w 1932387"/>
                <a:gd name="connsiteY5" fmla="*/ 2346290 h 2453208"/>
                <a:gd name="connsiteX6" fmla="*/ 135654 w 1932387"/>
                <a:gd name="connsiteY6" fmla="*/ 2044840 h 2453208"/>
                <a:gd name="connsiteX7" fmla="*/ 567733 w 1932387"/>
                <a:gd name="connsiteY7" fmla="*/ 1924260 h 2453208"/>
                <a:gd name="connsiteX8" fmla="*/ 291403 w 1932387"/>
                <a:gd name="connsiteY8" fmla="*/ 0 h 2453208"/>
                <a:gd name="connsiteX0" fmla="*/ 291403 w 1932262"/>
                <a:gd name="connsiteY0" fmla="*/ 0 h 2453208"/>
                <a:gd name="connsiteX1" fmla="*/ 1723293 w 1932262"/>
                <a:gd name="connsiteY1" fmla="*/ 0 h 2453208"/>
                <a:gd name="connsiteX2" fmla="*/ 1919238 w 1932262"/>
                <a:gd name="connsiteY2" fmla="*/ 1065125 h 2453208"/>
                <a:gd name="connsiteX3" fmla="*/ 1436916 w 1932262"/>
                <a:gd name="connsiteY3" fmla="*/ 1693147 h 2453208"/>
                <a:gd name="connsiteX4" fmla="*/ 864159 w 1932262"/>
                <a:gd name="connsiteY4" fmla="*/ 2105130 h 2453208"/>
                <a:gd name="connsiteX5" fmla="*/ 0 w 1932262"/>
                <a:gd name="connsiteY5" fmla="*/ 2346290 h 2453208"/>
                <a:gd name="connsiteX6" fmla="*/ 135654 w 1932262"/>
                <a:gd name="connsiteY6" fmla="*/ 2044840 h 2453208"/>
                <a:gd name="connsiteX7" fmla="*/ 567733 w 1932262"/>
                <a:gd name="connsiteY7" fmla="*/ 1924260 h 2453208"/>
                <a:gd name="connsiteX8" fmla="*/ 291403 w 1932262"/>
                <a:gd name="connsiteY8" fmla="*/ 0 h 2453208"/>
                <a:gd name="connsiteX0" fmla="*/ 291403 w 2175469"/>
                <a:gd name="connsiteY0" fmla="*/ 0 h 2453208"/>
                <a:gd name="connsiteX1" fmla="*/ 2175469 w 2175469"/>
                <a:gd name="connsiteY1" fmla="*/ 356716 h 2453208"/>
                <a:gd name="connsiteX2" fmla="*/ 1919238 w 2175469"/>
                <a:gd name="connsiteY2" fmla="*/ 1065125 h 2453208"/>
                <a:gd name="connsiteX3" fmla="*/ 1436916 w 2175469"/>
                <a:gd name="connsiteY3" fmla="*/ 1693147 h 2453208"/>
                <a:gd name="connsiteX4" fmla="*/ 864159 w 2175469"/>
                <a:gd name="connsiteY4" fmla="*/ 2105130 h 2453208"/>
                <a:gd name="connsiteX5" fmla="*/ 0 w 2175469"/>
                <a:gd name="connsiteY5" fmla="*/ 2346290 h 2453208"/>
                <a:gd name="connsiteX6" fmla="*/ 135654 w 2175469"/>
                <a:gd name="connsiteY6" fmla="*/ 2044840 h 2453208"/>
                <a:gd name="connsiteX7" fmla="*/ 567733 w 2175469"/>
                <a:gd name="connsiteY7" fmla="*/ 1924260 h 2453208"/>
                <a:gd name="connsiteX8" fmla="*/ 291403 w 2175469"/>
                <a:gd name="connsiteY8" fmla="*/ 0 h 2453208"/>
                <a:gd name="connsiteX0" fmla="*/ 291403 w 2215117"/>
                <a:gd name="connsiteY0" fmla="*/ 0 h 2453208"/>
                <a:gd name="connsiteX1" fmla="*/ 2175469 w 2215117"/>
                <a:gd name="connsiteY1" fmla="*/ 356716 h 2453208"/>
                <a:gd name="connsiteX2" fmla="*/ 1919238 w 2215117"/>
                <a:gd name="connsiteY2" fmla="*/ 1065125 h 2453208"/>
                <a:gd name="connsiteX3" fmla="*/ 1436916 w 2215117"/>
                <a:gd name="connsiteY3" fmla="*/ 1693147 h 2453208"/>
                <a:gd name="connsiteX4" fmla="*/ 864159 w 2215117"/>
                <a:gd name="connsiteY4" fmla="*/ 2105130 h 2453208"/>
                <a:gd name="connsiteX5" fmla="*/ 0 w 2215117"/>
                <a:gd name="connsiteY5" fmla="*/ 2346290 h 2453208"/>
                <a:gd name="connsiteX6" fmla="*/ 135654 w 2215117"/>
                <a:gd name="connsiteY6" fmla="*/ 2044840 h 2453208"/>
                <a:gd name="connsiteX7" fmla="*/ 567733 w 2215117"/>
                <a:gd name="connsiteY7" fmla="*/ 1924260 h 2453208"/>
                <a:gd name="connsiteX8" fmla="*/ 291403 w 2215117"/>
                <a:gd name="connsiteY8" fmla="*/ 0 h 2453208"/>
                <a:gd name="connsiteX0" fmla="*/ 291403 w 2217798"/>
                <a:gd name="connsiteY0" fmla="*/ 0 h 2453208"/>
                <a:gd name="connsiteX1" fmla="*/ 2175469 w 2217798"/>
                <a:gd name="connsiteY1" fmla="*/ 356716 h 2453208"/>
                <a:gd name="connsiteX2" fmla="*/ 1919238 w 2217798"/>
                <a:gd name="connsiteY2" fmla="*/ 1065125 h 2453208"/>
                <a:gd name="connsiteX3" fmla="*/ 1436916 w 2217798"/>
                <a:gd name="connsiteY3" fmla="*/ 1693147 h 2453208"/>
                <a:gd name="connsiteX4" fmla="*/ 864159 w 2217798"/>
                <a:gd name="connsiteY4" fmla="*/ 2105130 h 2453208"/>
                <a:gd name="connsiteX5" fmla="*/ 0 w 2217798"/>
                <a:gd name="connsiteY5" fmla="*/ 2346290 h 2453208"/>
                <a:gd name="connsiteX6" fmla="*/ 135654 w 2217798"/>
                <a:gd name="connsiteY6" fmla="*/ 2044840 h 2453208"/>
                <a:gd name="connsiteX7" fmla="*/ 567733 w 2217798"/>
                <a:gd name="connsiteY7" fmla="*/ 1924260 h 2453208"/>
                <a:gd name="connsiteX8" fmla="*/ 291403 w 2217798"/>
                <a:gd name="connsiteY8" fmla="*/ 0 h 2453208"/>
                <a:gd name="connsiteX0" fmla="*/ 291403 w 2217798"/>
                <a:gd name="connsiteY0" fmla="*/ 0 h 2453208"/>
                <a:gd name="connsiteX1" fmla="*/ 1165611 w 2217798"/>
                <a:gd name="connsiteY1" fmla="*/ 165798 h 2453208"/>
                <a:gd name="connsiteX2" fmla="*/ 2175469 w 2217798"/>
                <a:gd name="connsiteY2" fmla="*/ 356716 h 2453208"/>
                <a:gd name="connsiteX3" fmla="*/ 1919238 w 2217798"/>
                <a:gd name="connsiteY3" fmla="*/ 1065125 h 2453208"/>
                <a:gd name="connsiteX4" fmla="*/ 1436916 w 2217798"/>
                <a:gd name="connsiteY4" fmla="*/ 1693147 h 2453208"/>
                <a:gd name="connsiteX5" fmla="*/ 864159 w 2217798"/>
                <a:gd name="connsiteY5" fmla="*/ 2105130 h 2453208"/>
                <a:gd name="connsiteX6" fmla="*/ 0 w 2217798"/>
                <a:gd name="connsiteY6" fmla="*/ 2346290 h 2453208"/>
                <a:gd name="connsiteX7" fmla="*/ 135654 w 2217798"/>
                <a:gd name="connsiteY7" fmla="*/ 2044840 h 2453208"/>
                <a:gd name="connsiteX8" fmla="*/ 567733 w 2217798"/>
                <a:gd name="connsiteY8" fmla="*/ 1924260 h 2453208"/>
                <a:gd name="connsiteX9" fmla="*/ 291403 w 2217798"/>
                <a:gd name="connsiteY9" fmla="*/ 0 h 2453208"/>
                <a:gd name="connsiteX0" fmla="*/ 291403 w 2217798"/>
                <a:gd name="connsiteY0" fmla="*/ 1170633 h 3623841"/>
                <a:gd name="connsiteX1" fmla="*/ 532565 w 2217798"/>
                <a:gd name="connsiteY1" fmla="*/ 0 h 3623841"/>
                <a:gd name="connsiteX2" fmla="*/ 2175469 w 2217798"/>
                <a:gd name="connsiteY2" fmla="*/ 1527349 h 3623841"/>
                <a:gd name="connsiteX3" fmla="*/ 1919238 w 2217798"/>
                <a:gd name="connsiteY3" fmla="*/ 2235758 h 3623841"/>
                <a:gd name="connsiteX4" fmla="*/ 1436916 w 2217798"/>
                <a:gd name="connsiteY4" fmla="*/ 2863780 h 3623841"/>
                <a:gd name="connsiteX5" fmla="*/ 864159 w 2217798"/>
                <a:gd name="connsiteY5" fmla="*/ 3275763 h 3623841"/>
                <a:gd name="connsiteX6" fmla="*/ 0 w 2217798"/>
                <a:gd name="connsiteY6" fmla="*/ 3516923 h 3623841"/>
                <a:gd name="connsiteX7" fmla="*/ 135654 w 2217798"/>
                <a:gd name="connsiteY7" fmla="*/ 3215473 h 3623841"/>
                <a:gd name="connsiteX8" fmla="*/ 567733 w 2217798"/>
                <a:gd name="connsiteY8" fmla="*/ 3094893 h 3623841"/>
                <a:gd name="connsiteX9" fmla="*/ 291403 w 2217798"/>
                <a:gd name="connsiteY9" fmla="*/ 1170633 h 3623841"/>
                <a:gd name="connsiteX0" fmla="*/ 291403 w 2217798"/>
                <a:gd name="connsiteY0" fmla="*/ 1170633 h 3623841"/>
                <a:gd name="connsiteX1" fmla="*/ 532565 w 2217798"/>
                <a:gd name="connsiteY1" fmla="*/ 0 h 3623841"/>
                <a:gd name="connsiteX2" fmla="*/ 2175469 w 2217798"/>
                <a:gd name="connsiteY2" fmla="*/ 1527349 h 3623841"/>
                <a:gd name="connsiteX3" fmla="*/ 1919238 w 2217798"/>
                <a:gd name="connsiteY3" fmla="*/ 2235758 h 3623841"/>
                <a:gd name="connsiteX4" fmla="*/ 1436916 w 2217798"/>
                <a:gd name="connsiteY4" fmla="*/ 2863780 h 3623841"/>
                <a:gd name="connsiteX5" fmla="*/ 864159 w 2217798"/>
                <a:gd name="connsiteY5" fmla="*/ 3275763 h 3623841"/>
                <a:gd name="connsiteX6" fmla="*/ 0 w 2217798"/>
                <a:gd name="connsiteY6" fmla="*/ 3516923 h 3623841"/>
                <a:gd name="connsiteX7" fmla="*/ 135654 w 2217798"/>
                <a:gd name="connsiteY7" fmla="*/ 3215473 h 3623841"/>
                <a:gd name="connsiteX8" fmla="*/ 567733 w 2217798"/>
                <a:gd name="connsiteY8" fmla="*/ 3094893 h 3623841"/>
                <a:gd name="connsiteX9" fmla="*/ 291403 w 2217798"/>
                <a:gd name="connsiteY9" fmla="*/ 1170633 h 3623841"/>
                <a:gd name="connsiteX0" fmla="*/ 291403 w 2213292"/>
                <a:gd name="connsiteY0" fmla="*/ 1170633 h 3623841"/>
                <a:gd name="connsiteX1" fmla="*/ 532565 w 2213292"/>
                <a:gd name="connsiteY1" fmla="*/ 0 h 3623841"/>
                <a:gd name="connsiteX2" fmla="*/ 2170445 w 2213292"/>
                <a:gd name="connsiteY2" fmla="*/ 1507252 h 3623841"/>
                <a:gd name="connsiteX3" fmla="*/ 1919238 w 2213292"/>
                <a:gd name="connsiteY3" fmla="*/ 2235758 h 3623841"/>
                <a:gd name="connsiteX4" fmla="*/ 1436916 w 2213292"/>
                <a:gd name="connsiteY4" fmla="*/ 2863780 h 3623841"/>
                <a:gd name="connsiteX5" fmla="*/ 864159 w 2213292"/>
                <a:gd name="connsiteY5" fmla="*/ 3275763 h 3623841"/>
                <a:gd name="connsiteX6" fmla="*/ 0 w 2213292"/>
                <a:gd name="connsiteY6" fmla="*/ 3516923 h 3623841"/>
                <a:gd name="connsiteX7" fmla="*/ 135654 w 2213292"/>
                <a:gd name="connsiteY7" fmla="*/ 3215473 h 3623841"/>
                <a:gd name="connsiteX8" fmla="*/ 567733 w 2213292"/>
                <a:gd name="connsiteY8" fmla="*/ 3094893 h 3623841"/>
                <a:gd name="connsiteX9" fmla="*/ 291403 w 2213292"/>
                <a:gd name="connsiteY9" fmla="*/ 1170633 h 3623841"/>
                <a:gd name="connsiteX0" fmla="*/ 291403 w 2114143"/>
                <a:gd name="connsiteY0" fmla="*/ 1170633 h 3623841"/>
                <a:gd name="connsiteX1" fmla="*/ 532565 w 2114143"/>
                <a:gd name="connsiteY1" fmla="*/ 0 h 3623841"/>
                <a:gd name="connsiteX2" fmla="*/ 2054889 w 2114143"/>
                <a:gd name="connsiteY2" fmla="*/ 1381647 h 3623841"/>
                <a:gd name="connsiteX3" fmla="*/ 1919238 w 2114143"/>
                <a:gd name="connsiteY3" fmla="*/ 2235758 h 3623841"/>
                <a:gd name="connsiteX4" fmla="*/ 1436916 w 2114143"/>
                <a:gd name="connsiteY4" fmla="*/ 2863780 h 3623841"/>
                <a:gd name="connsiteX5" fmla="*/ 864159 w 2114143"/>
                <a:gd name="connsiteY5" fmla="*/ 3275763 h 3623841"/>
                <a:gd name="connsiteX6" fmla="*/ 0 w 2114143"/>
                <a:gd name="connsiteY6" fmla="*/ 3516923 h 3623841"/>
                <a:gd name="connsiteX7" fmla="*/ 135654 w 2114143"/>
                <a:gd name="connsiteY7" fmla="*/ 3215473 h 3623841"/>
                <a:gd name="connsiteX8" fmla="*/ 567733 w 2114143"/>
                <a:gd name="connsiteY8" fmla="*/ 3094893 h 3623841"/>
                <a:gd name="connsiteX9" fmla="*/ 291403 w 2114143"/>
                <a:gd name="connsiteY9" fmla="*/ 1170633 h 3623841"/>
                <a:gd name="connsiteX0" fmla="*/ 291403 w 2209251"/>
                <a:gd name="connsiteY0" fmla="*/ 1170633 h 3623841"/>
                <a:gd name="connsiteX1" fmla="*/ 532565 w 2209251"/>
                <a:gd name="connsiteY1" fmla="*/ 0 h 3623841"/>
                <a:gd name="connsiteX2" fmla="*/ 2054889 w 2209251"/>
                <a:gd name="connsiteY2" fmla="*/ 1381647 h 3623841"/>
                <a:gd name="connsiteX3" fmla="*/ 1919238 w 2209251"/>
                <a:gd name="connsiteY3" fmla="*/ 2235758 h 3623841"/>
                <a:gd name="connsiteX4" fmla="*/ 1436916 w 2209251"/>
                <a:gd name="connsiteY4" fmla="*/ 2863780 h 3623841"/>
                <a:gd name="connsiteX5" fmla="*/ 864159 w 2209251"/>
                <a:gd name="connsiteY5" fmla="*/ 3275763 h 3623841"/>
                <a:gd name="connsiteX6" fmla="*/ 0 w 2209251"/>
                <a:gd name="connsiteY6" fmla="*/ 3516923 h 3623841"/>
                <a:gd name="connsiteX7" fmla="*/ 135654 w 2209251"/>
                <a:gd name="connsiteY7" fmla="*/ 3215473 h 3623841"/>
                <a:gd name="connsiteX8" fmla="*/ 567733 w 2209251"/>
                <a:gd name="connsiteY8" fmla="*/ 3094893 h 3623841"/>
                <a:gd name="connsiteX9" fmla="*/ 291403 w 2209251"/>
                <a:gd name="connsiteY9" fmla="*/ 1170633 h 3623841"/>
                <a:gd name="connsiteX0" fmla="*/ 291403 w 2215920"/>
                <a:gd name="connsiteY0" fmla="*/ 1170633 h 3623841"/>
                <a:gd name="connsiteX1" fmla="*/ 532565 w 2215920"/>
                <a:gd name="connsiteY1" fmla="*/ 0 h 3623841"/>
                <a:gd name="connsiteX2" fmla="*/ 2054889 w 2215920"/>
                <a:gd name="connsiteY2" fmla="*/ 1381647 h 3623841"/>
                <a:gd name="connsiteX3" fmla="*/ 1919238 w 2215920"/>
                <a:gd name="connsiteY3" fmla="*/ 2235758 h 3623841"/>
                <a:gd name="connsiteX4" fmla="*/ 1436916 w 2215920"/>
                <a:gd name="connsiteY4" fmla="*/ 2863780 h 3623841"/>
                <a:gd name="connsiteX5" fmla="*/ 864159 w 2215920"/>
                <a:gd name="connsiteY5" fmla="*/ 3275763 h 3623841"/>
                <a:gd name="connsiteX6" fmla="*/ 0 w 2215920"/>
                <a:gd name="connsiteY6" fmla="*/ 3516923 h 3623841"/>
                <a:gd name="connsiteX7" fmla="*/ 135654 w 2215920"/>
                <a:gd name="connsiteY7" fmla="*/ 3215473 h 3623841"/>
                <a:gd name="connsiteX8" fmla="*/ 567733 w 2215920"/>
                <a:gd name="connsiteY8" fmla="*/ 3094893 h 3623841"/>
                <a:gd name="connsiteX9" fmla="*/ 291403 w 2215920"/>
                <a:gd name="connsiteY9" fmla="*/ 1170633 h 3623841"/>
                <a:gd name="connsiteX0" fmla="*/ 291403 w 2219964"/>
                <a:gd name="connsiteY0" fmla="*/ 1170633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91403 w 2219964"/>
                <a:gd name="connsiteY9" fmla="*/ 1170633 h 3623841"/>
                <a:gd name="connsiteX0" fmla="*/ 291403 w 2219964"/>
                <a:gd name="connsiteY0" fmla="*/ 1170633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91403 w 2219964"/>
                <a:gd name="connsiteY9" fmla="*/ 1170633 h 3623841"/>
                <a:gd name="connsiteX0" fmla="*/ 291403 w 2219964"/>
                <a:gd name="connsiteY0" fmla="*/ 1170633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91403 w 2219964"/>
                <a:gd name="connsiteY9" fmla="*/ 1170633 h 3623841"/>
                <a:gd name="connsiteX0" fmla="*/ 291403 w 2219964"/>
                <a:gd name="connsiteY0" fmla="*/ 1170633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91403 w 2219964"/>
                <a:gd name="connsiteY9" fmla="*/ 1170633 h 3623841"/>
                <a:gd name="connsiteX0" fmla="*/ 291403 w 2219964"/>
                <a:gd name="connsiteY0" fmla="*/ 1170633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91403 w 2219964"/>
                <a:gd name="connsiteY9" fmla="*/ 1170633 h 3623841"/>
                <a:gd name="connsiteX0" fmla="*/ 211016 w 2219964"/>
                <a:gd name="connsiteY0" fmla="*/ 120580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11016 w 2219964"/>
                <a:gd name="connsiteY9" fmla="*/ 120580 h 3623841"/>
                <a:gd name="connsiteX0" fmla="*/ 211016 w 2219964"/>
                <a:gd name="connsiteY0" fmla="*/ 120580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11016 w 2219964"/>
                <a:gd name="connsiteY9" fmla="*/ 120580 h 3623841"/>
                <a:gd name="connsiteX0" fmla="*/ 211016 w 2219964"/>
                <a:gd name="connsiteY0" fmla="*/ 120580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11016 w 2219964"/>
                <a:gd name="connsiteY9" fmla="*/ 120580 h 3623841"/>
                <a:gd name="connsiteX0" fmla="*/ 211016 w 2219964"/>
                <a:gd name="connsiteY0" fmla="*/ 120580 h 3623841"/>
                <a:gd name="connsiteX1" fmla="*/ 532565 w 2219964"/>
                <a:gd name="connsiteY1" fmla="*/ 0 h 3623841"/>
                <a:gd name="connsiteX2" fmla="*/ 2054889 w 2219964"/>
                <a:gd name="connsiteY2" fmla="*/ 1381647 h 3623841"/>
                <a:gd name="connsiteX3" fmla="*/ 1919238 w 2219964"/>
                <a:gd name="connsiteY3" fmla="*/ 2235758 h 3623841"/>
                <a:gd name="connsiteX4" fmla="*/ 1436916 w 2219964"/>
                <a:gd name="connsiteY4" fmla="*/ 2863780 h 3623841"/>
                <a:gd name="connsiteX5" fmla="*/ 864159 w 2219964"/>
                <a:gd name="connsiteY5" fmla="*/ 3275763 h 3623841"/>
                <a:gd name="connsiteX6" fmla="*/ 0 w 2219964"/>
                <a:gd name="connsiteY6" fmla="*/ 3516923 h 3623841"/>
                <a:gd name="connsiteX7" fmla="*/ 135654 w 2219964"/>
                <a:gd name="connsiteY7" fmla="*/ 3215473 h 3623841"/>
                <a:gd name="connsiteX8" fmla="*/ 567733 w 2219964"/>
                <a:gd name="connsiteY8" fmla="*/ 3094893 h 3623841"/>
                <a:gd name="connsiteX9" fmla="*/ 211016 w 2219964"/>
                <a:gd name="connsiteY9" fmla="*/ 120580 h 3623841"/>
                <a:gd name="connsiteX0" fmla="*/ 211016 w 2219964"/>
                <a:gd name="connsiteY0" fmla="*/ 138966 h 3642227"/>
                <a:gd name="connsiteX1" fmla="*/ 532565 w 2219964"/>
                <a:gd name="connsiteY1" fmla="*/ 18386 h 3642227"/>
                <a:gd name="connsiteX2" fmla="*/ 2054889 w 2219964"/>
                <a:gd name="connsiteY2" fmla="*/ 1400033 h 3642227"/>
                <a:gd name="connsiteX3" fmla="*/ 1919238 w 2219964"/>
                <a:gd name="connsiteY3" fmla="*/ 2254144 h 3642227"/>
                <a:gd name="connsiteX4" fmla="*/ 1436916 w 2219964"/>
                <a:gd name="connsiteY4" fmla="*/ 2882166 h 3642227"/>
                <a:gd name="connsiteX5" fmla="*/ 864159 w 2219964"/>
                <a:gd name="connsiteY5" fmla="*/ 3294149 h 3642227"/>
                <a:gd name="connsiteX6" fmla="*/ 0 w 2219964"/>
                <a:gd name="connsiteY6" fmla="*/ 3535309 h 3642227"/>
                <a:gd name="connsiteX7" fmla="*/ 135654 w 2219964"/>
                <a:gd name="connsiteY7" fmla="*/ 3233859 h 3642227"/>
                <a:gd name="connsiteX8" fmla="*/ 567733 w 2219964"/>
                <a:gd name="connsiteY8" fmla="*/ 3113279 h 3642227"/>
                <a:gd name="connsiteX9" fmla="*/ 211016 w 2219964"/>
                <a:gd name="connsiteY9" fmla="*/ 138966 h 3642227"/>
                <a:gd name="connsiteX0" fmla="*/ 211016 w 2219964"/>
                <a:gd name="connsiteY0" fmla="*/ 134584 h 3637845"/>
                <a:gd name="connsiteX1" fmla="*/ 532565 w 2219964"/>
                <a:gd name="connsiteY1" fmla="*/ 14004 h 3637845"/>
                <a:gd name="connsiteX2" fmla="*/ 2054889 w 2219964"/>
                <a:gd name="connsiteY2" fmla="*/ 1395651 h 3637845"/>
                <a:gd name="connsiteX3" fmla="*/ 1919238 w 2219964"/>
                <a:gd name="connsiteY3" fmla="*/ 2249762 h 3637845"/>
                <a:gd name="connsiteX4" fmla="*/ 1436916 w 2219964"/>
                <a:gd name="connsiteY4" fmla="*/ 2877784 h 3637845"/>
                <a:gd name="connsiteX5" fmla="*/ 864159 w 2219964"/>
                <a:gd name="connsiteY5" fmla="*/ 3289767 h 3637845"/>
                <a:gd name="connsiteX6" fmla="*/ 0 w 2219964"/>
                <a:gd name="connsiteY6" fmla="*/ 3530927 h 3637845"/>
                <a:gd name="connsiteX7" fmla="*/ 135654 w 2219964"/>
                <a:gd name="connsiteY7" fmla="*/ 3229477 h 3637845"/>
                <a:gd name="connsiteX8" fmla="*/ 567733 w 2219964"/>
                <a:gd name="connsiteY8" fmla="*/ 3108897 h 3637845"/>
                <a:gd name="connsiteX9" fmla="*/ 211016 w 2219964"/>
                <a:gd name="connsiteY9" fmla="*/ 134584 h 3637845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211016 w 2219964"/>
                <a:gd name="connsiteY9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386864 w 2219964"/>
                <a:gd name="connsiteY9" fmla="*/ 1692616 h 3628333"/>
                <a:gd name="connsiteX10" fmla="*/ 211016 w 2219964"/>
                <a:gd name="connsiteY10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758464 w 2219964"/>
                <a:gd name="connsiteY9" fmla="*/ 1531842 h 3628333"/>
                <a:gd name="connsiteX10" fmla="*/ 211016 w 2219964"/>
                <a:gd name="connsiteY10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421844 w 2219964"/>
                <a:gd name="connsiteY9" fmla="*/ 1958897 h 3628333"/>
                <a:gd name="connsiteX10" fmla="*/ 1758464 w 2219964"/>
                <a:gd name="connsiteY10" fmla="*/ 1531842 h 3628333"/>
                <a:gd name="connsiteX11" fmla="*/ 211016 w 2219964"/>
                <a:gd name="connsiteY1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748416 w 2219964"/>
                <a:gd name="connsiteY9" fmla="*/ 1958897 h 3628333"/>
                <a:gd name="connsiteX10" fmla="*/ 1758464 w 2219964"/>
                <a:gd name="connsiteY10" fmla="*/ 1531842 h 3628333"/>
                <a:gd name="connsiteX11" fmla="*/ 211016 w 2219964"/>
                <a:gd name="connsiteY1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748416 w 2219964"/>
                <a:gd name="connsiteY9" fmla="*/ 1958897 h 3628333"/>
                <a:gd name="connsiteX10" fmla="*/ 1758464 w 2219964"/>
                <a:gd name="connsiteY10" fmla="*/ 1531842 h 3628333"/>
                <a:gd name="connsiteX11" fmla="*/ 211016 w 2219964"/>
                <a:gd name="connsiteY1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748416 w 2219964"/>
                <a:gd name="connsiteY9" fmla="*/ 1958897 h 3628333"/>
                <a:gd name="connsiteX10" fmla="*/ 1758464 w 2219964"/>
                <a:gd name="connsiteY10" fmla="*/ 1531842 h 3628333"/>
                <a:gd name="connsiteX11" fmla="*/ 211016 w 2219964"/>
                <a:gd name="connsiteY1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748416 w 2219964"/>
                <a:gd name="connsiteY9" fmla="*/ 1958897 h 3628333"/>
                <a:gd name="connsiteX10" fmla="*/ 1758464 w 2219964"/>
                <a:gd name="connsiteY10" fmla="*/ 1531842 h 3628333"/>
                <a:gd name="connsiteX11" fmla="*/ 211016 w 2219964"/>
                <a:gd name="connsiteY1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306288 w 2219964"/>
                <a:gd name="connsiteY9" fmla="*/ 2380928 h 3628333"/>
                <a:gd name="connsiteX10" fmla="*/ 1748416 w 2219964"/>
                <a:gd name="connsiteY10" fmla="*/ 1958897 h 3628333"/>
                <a:gd name="connsiteX11" fmla="*/ 1758464 w 2219964"/>
                <a:gd name="connsiteY11" fmla="*/ 153184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748416 w 2219964"/>
                <a:gd name="connsiteY10" fmla="*/ 1958897 h 3628333"/>
                <a:gd name="connsiteX11" fmla="*/ 1758464 w 2219964"/>
                <a:gd name="connsiteY11" fmla="*/ 153184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758464 w 2219964"/>
                <a:gd name="connsiteY11" fmla="*/ 153184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758464 w 2219964"/>
                <a:gd name="connsiteY11" fmla="*/ 153184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758464 w 2219964"/>
                <a:gd name="connsiteY11" fmla="*/ 153184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808706 w 2219964"/>
                <a:gd name="connsiteY11" fmla="*/ 159213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808706 w 2219964"/>
                <a:gd name="connsiteY11" fmla="*/ 159213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808706 w 2219964"/>
                <a:gd name="connsiteY11" fmla="*/ 159213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808706 w 2219964"/>
                <a:gd name="connsiteY11" fmla="*/ 159213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5224 w 2219964"/>
                <a:gd name="connsiteY9" fmla="*/ 1501697 h 3628333"/>
                <a:gd name="connsiteX10" fmla="*/ 1607739 w 2219964"/>
                <a:gd name="connsiteY10" fmla="*/ 1873486 h 3628333"/>
                <a:gd name="connsiteX11" fmla="*/ 1808706 w 2219964"/>
                <a:gd name="connsiteY11" fmla="*/ 1592132 h 3628333"/>
                <a:gd name="connsiteX12" fmla="*/ 211016 w 2219964"/>
                <a:gd name="connsiteY12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813919 w 2219964"/>
                <a:gd name="connsiteY9" fmla="*/ 2325662 h 3628333"/>
                <a:gd name="connsiteX10" fmla="*/ 1085224 w 2219964"/>
                <a:gd name="connsiteY10" fmla="*/ 1501697 h 3628333"/>
                <a:gd name="connsiteX11" fmla="*/ 1607739 w 2219964"/>
                <a:gd name="connsiteY11" fmla="*/ 1873486 h 3628333"/>
                <a:gd name="connsiteX12" fmla="*/ 1808706 w 2219964"/>
                <a:gd name="connsiteY12" fmla="*/ 1592132 h 3628333"/>
                <a:gd name="connsiteX13" fmla="*/ 211016 w 2219964"/>
                <a:gd name="connsiteY13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1085224 w 2219964"/>
                <a:gd name="connsiteY10" fmla="*/ 1501697 h 3628333"/>
                <a:gd name="connsiteX11" fmla="*/ 1607739 w 2219964"/>
                <a:gd name="connsiteY11" fmla="*/ 1873486 h 3628333"/>
                <a:gd name="connsiteX12" fmla="*/ 1808706 w 2219964"/>
                <a:gd name="connsiteY12" fmla="*/ 1592132 h 3628333"/>
                <a:gd name="connsiteX13" fmla="*/ 211016 w 2219964"/>
                <a:gd name="connsiteY13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813919 w 2219964"/>
                <a:gd name="connsiteY10" fmla="*/ 1883535 h 3628333"/>
                <a:gd name="connsiteX11" fmla="*/ 1085224 w 2219964"/>
                <a:gd name="connsiteY11" fmla="*/ 1501697 h 3628333"/>
                <a:gd name="connsiteX12" fmla="*/ 1607739 w 2219964"/>
                <a:gd name="connsiteY12" fmla="*/ 1873486 h 3628333"/>
                <a:gd name="connsiteX13" fmla="*/ 1808706 w 2219964"/>
                <a:gd name="connsiteY13" fmla="*/ 1592132 h 3628333"/>
                <a:gd name="connsiteX14" fmla="*/ 211016 w 2219964"/>
                <a:gd name="connsiteY14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944547 w 2219964"/>
                <a:gd name="connsiteY10" fmla="*/ 1767979 h 3628333"/>
                <a:gd name="connsiteX11" fmla="*/ 1085224 w 2219964"/>
                <a:gd name="connsiteY11" fmla="*/ 1501697 h 3628333"/>
                <a:gd name="connsiteX12" fmla="*/ 1607739 w 2219964"/>
                <a:gd name="connsiteY12" fmla="*/ 1873486 h 3628333"/>
                <a:gd name="connsiteX13" fmla="*/ 1808706 w 2219964"/>
                <a:gd name="connsiteY13" fmla="*/ 1592132 h 3628333"/>
                <a:gd name="connsiteX14" fmla="*/ 211016 w 2219964"/>
                <a:gd name="connsiteY14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73725 w 2219964"/>
                <a:gd name="connsiteY10" fmla="*/ 2009139 h 3628333"/>
                <a:gd name="connsiteX11" fmla="*/ 944547 w 2219964"/>
                <a:gd name="connsiteY11" fmla="*/ 1767979 h 3628333"/>
                <a:gd name="connsiteX12" fmla="*/ 1085224 w 2219964"/>
                <a:gd name="connsiteY12" fmla="*/ 1501697 h 3628333"/>
                <a:gd name="connsiteX13" fmla="*/ 1607739 w 2219964"/>
                <a:gd name="connsiteY13" fmla="*/ 1873486 h 3628333"/>
                <a:gd name="connsiteX14" fmla="*/ 1808706 w 2219964"/>
                <a:gd name="connsiteY14" fmla="*/ 1592132 h 3628333"/>
                <a:gd name="connsiteX15" fmla="*/ 211016 w 2219964"/>
                <a:gd name="connsiteY15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944547 w 2219964"/>
                <a:gd name="connsiteY11" fmla="*/ 1767979 h 3628333"/>
                <a:gd name="connsiteX12" fmla="*/ 1085224 w 2219964"/>
                <a:gd name="connsiteY12" fmla="*/ 1501697 h 3628333"/>
                <a:gd name="connsiteX13" fmla="*/ 1607739 w 2219964"/>
                <a:gd name="connsiteY13" fmla="*/ 1873486 h 3628333"/>
                <a:gd name="connsiteX14" fmla="*/ 1808706 w 2219964"/>
                <a:gd name="connsiteY14" fmla="*/ 1592132 h 3628333"/>
                <a:gd name="connsiteX15" fmla="*/ 211016 w 2219964"/>
                <a:gd name="connsiteY15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944547 w 2219964"/>
                <a:gd name="connsiteY11" fmla="*/ 1767979 h 3628333"/>
                <a:gd name="connsiteX12" fmla="*/ 1085224 w 2219964"/>
                <a:gd name="connsiteY12" fmla="*/ 1501697 h 3628333"/>
                <a:gd name="connsiteX13" fmla="*/ 1607739 w 2219964"/>
                <a:gd name="connsiteY13" fmla="*/ 1873486 h 3628333"/>
                <a:gd name="connsiteX14" fmla="*/ 1808706 w 2219964"/>
                <a:gd name="connsiteY14" fmla="*/ 1592132 h 3628333"/>
                <a:gd name="connsiteX15" fmla="*/ 211016 w 2219964"/>
                <a:gd name="connsiteY15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090248 w 2219964"/>
                <a:gd name="connsiteY11" fmla="*/ 2024212 h 3628333"/>
                <a:gd name="connsiteX12" fmla="*/ 944547 w 2219964"/>
                <a:gd name="connsiteY12" fmla="*/ 1767979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44547 w 2219964"/>
                <a:gd name="connsiteY12" fmla="*/ 1767979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84741 w 2219964"/>
                <a:gd name="connsiteY12" fmla="*/ 1783052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84741 w 2219964"/>
                <a:gd name="connsiteY12" fmla="*/ 1783052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84741 w 2219964"/>
                <a:gd name="connsiteY12" fmla="*/ 1783052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29475 w 2219964"/>
                <a:gd name="connsiteY12" fmla="*/ 1762955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29475 w 2219964"/>
                <a:gd name="connsiteY12" fmla="*/ 1762955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29475 w 2219964"/>
                <a:gd name="connsiteY12" fmla="*/ 1762955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29475 w 2219964"/>
                <a:gd name="connsiteY12" fmla="*/ 1762955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577593 w 2219964"/>
                <a:gd name="connsiteY11" fmla="*/ 2280445 h 3628333"/>
                <a:gd name="connsiteX12" fmla="*/ 929475 w 2219964"/>
                <a:gd name="connsiteY12" fmla="*/ 1762955 h 3628333"/>
                <a:gd name="connsiteX13" fmla="*/ 1085224 w 2219964"/>
                <a:gd name="connsiteY13" fmla="*/ 1501697 h 3628333"/>
                <a:gd name="connsiteX14" fmla="*/ 1607739 w 2219964"/>
                <a:gd name="connsiteY14" fmla="*/ 1873486 h 3628333"/>
                <a:gd name="connsiteX15" fmla="*/ 1808706 w 2219964"/>
                <a:gd name="connsiteY15" fmla="*/ 1592132 h 3628333"/>
                <a:gd name="connsiteX16" fmla="*/ 211016 w 2219964"/>
                <a:gd name="connsiteY16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245998 w 2219964"/>
                <a:gd name="connsiteY11" fmla="*/ 2190010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65372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90493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90493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567735 w 2219964"/>
                <a:gd name="connsiteY9" fmla="*/ 2290493 h 3628333"/>
                <a:gd name="connsiteX10" fmla="*/ 763677 w 2219964"/>
                <a:gd name="connsiteY10" fmla="*/ 2049333 h 3628333"/>
                <a:gd name="connsiteX11" fmla="*/ 1381651 w 2219964"/>
                <a:gd name="connsiteY11" fmla="*/ 2521605 h 3628333"/>
                <a:gd name="connsiteX12" fmla="*/ 1577593 w 2219964"/>
                <a:gd name="connsiteY12" fmla="*/ 2280445 h 3628333"/>
                <a:gd name="connsiteX13" fmla="*/ 929475 w 2219964"/>
                <a:gd name="connsiteY13" fmla="*/ 1762955 h 3628333"/>
                <a:gd name="connsiteX14" fmla="*/ 1085224 w 2219964"/>
                <a:gd name="connsiteY14" fmla="*/ 1501697 h 3628333"/>
                <a:gd name="connsiteX15" fmla="*/ 1607739 w 2219964"/>
                <a:gd name="connsiteY15" fmla="*/ 1873486 h 3628333"/>
                <a:gd name="connsiteX16" fmla="*/ 1808706 w 2219964"/>
                <a:gd name="connsiteY16" fmla="*/ 1592132 h 3628333"/>
                <a:gd name="connsiteX17" fmla="*/ 211016 w 2219964"/>
                <a:gd name="connsiteY17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713435 w 2219964"/>
                <a:gd name="connsiteY9" fmla="*/ 2692427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70151 w 2219964"/>
                <a:gd name="connsiteY9" fmla="*/ 2727597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70151 w 2219964"/>
                <a:gd name="connsiteY9" fmla="*/ 2727597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70151 w 2219964"/>
                <a:gd name="connsiteY9" fmla="*/ 2727597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50054 w 2219964"/>
                <a:gd name="connsiteY9" fmla="*/ 2692428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0199 w 2219964"/>
                <a:gd name="connsiteY9" fmla="*/ 2702476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0199 w 2219964"/>
                <a:gd name="connsiteY9" fmla="*/ 2702476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080199 w 2219964"/>
                <a:gd name="connsiteY9" fmla="*/ 2702476 h 3628333"/>
                <a:gd name="connsiteX10" fmla="*/ 567735 w 2219964"/>
                <a:gd name="connsiteY10" fmla="*/ 2290493 h 3628333"/>
                <a:gd name="connsiteX11" fmla="*/ 763677 w 2219964"/>
                <a:gd name="connsiteY11" fmla="*/ 2049333 h 3628333"/>
                <a:gd name="connsiteX12" fmla="*/ 1381651 w 2219964"/>
                <a:gd name="connsiteY12" fmla="*/ 2521605 h 3628333"/>
                <a:gd name="connsiteX13" fmla="*/ 1577593 w 2219964"/>
                <a:gd name="connsiteY13" fmla="*/ 2280445 h 3628333"/>
                <a:gd name="connsiteX14" fmla="*/ 929475 w 2219964"/>
                <a:gd name="connsiteY14" fmla="*/ 1762955 h 3628333"/>
                <a:gd name="connsiteX15" fmla="*/ 1085224 w 2219964"/>
                <a:gd name="connsiteY15" fmla="*/ 1501697 h 3628333"/>
                <a:gd name="connsiteX16" fmla="*/ 1607739 w 2219964"/>
                <a:gd name="connsiteY16" fmla="*/ 1873486 h 3628333"/>
                <a:gd name="connsiteX17" fmla="*/ 1808706 w 2219964"/>
                <a:gd name="connsiteY17" fmla="*/ 1592132 h 3628333"/>
                <a:gd name="connsiteX18" fmla="*/ 211016 w 2219964"/>
                <a:gd name="connsiteY18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874209 w 2219964"/>
                <a:gd name="connsiteY9" fmla="*/ 2988853 h 3628333"/>
                <a:gd name="connsiteX10" fmla="*/ 1080199 w 2219964"/>
                <a:gd name="connsiteY10" fmla="*/ 2702476 h 3628333"/>
                <a:gd name="connsiteX11" fmla="*/ 567735 w 2219964"/>
                <a:gd name="connsiteY11" fmla="*/ 2290493 h 3628333"/>
                <a:gd name="connsiteX12" fmla="*/ 763677 w 2219964"/>
                <a:gd name="connsiteY12" fmla="*/ 2049333 h 3628333"/>
                <a:gd name="connsiteX13" fmla="*/ 1381651 w 2219964"/>
                <a:gd name="connsiteY13" fmla="*/ 2521605 h 3628333"/>
                <a:gd name="connsiteX14" fmla="*/ 1577593 w 2219964"/>
                <a:gd name="connsiteY14" fmla="*/ 2280445 h 3628333"/>
                <a:gd name="connsiteX15" fmla="*/ 929475 w 2219964"/>
                <a:gd name="connsiteY15" fmla="*/ 1762955 h 3628333"/>
                <a:gd name="connsiteX16" fmla="*/ 1085224 w 2219964"/>
                <a:gd name="connsiteY16" fmla="*/ 1501697 h 3628333"/>
                <a:gd name="connsiteX17" fmla="*/ 1607739 w 2219964"/>
                <a:gd name="connsiteY17" fmla="*/ 1873486 h 3628333"/>
                <a:gd name="connsiteX18" fmla="*/ 1808706 w 2219964"/>
                <a:gd name="connsiteY18" fmla="*/ 1592132 h 3628333"/>
                <a:gd name="connsiteX19" fmla="*/ 211016 w 2219964"/>
                <a:gd name="connsiteY19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316525 w 2219964"/>
                <a:gd name="connsiteY9" fmla="*/ 2506532 h 3628333"/>
                <a:gd name="connsiteX10" fmla="*/ 1080199 w 2219964"/>
                <a:gd name="connsiteY10" fmla="*/ 2702476 h 3628333"/>
                <a:gd name="connsiteX11" fmla="*/ 567735 w 2219964"/>
                <a:gd name="connsiteY11" fmla="*/ 2290493 h 3628333"/>
                <a:gd name="connsiteX12" fmla="*/ 763677 w 2219964"/>
                <a:gd name="connsiteY12" fmla="*/ 2049333 h 3628333"/>
                <a:gd name="connsiteX13" fmla="*/ 1381651 w 2219964"/>
                <a:gd name="connsiteY13" fmla="*/ 2521605 h 3628333"/>
                <a:gd name="connsiteX14" fmla="*/ 1577593 w 2219964"/>
                <a:gd name="connsiteY14" fmla="*/ 2280445 h 3628333"/>
                <a:gd name="connsiteX15" fmla="*/ 929475 w 2219964"/>
                <a:gd name="connsiteY15" fmla="*/ 1762955 h 3628333"/>
                <a:gd name="connsiteX16" fmla="*/ 1085224 w 2219964"/>
                <a:gd name="connsiteY16" fmla="*/ 1501697 h 3628333"/>
                <a:gd name="connsiteX17" fmla="*/ 1607739 w 2219964"/>
                <a:gd name="connsiteY17" fmla="*/ 1873486 h 3628333"/>
                <a:gd name="connsiteX18" fmla="*/ 1808706 w 2219964"/>
                <a:gd name="connsiteY18" fmla="*/ 1592132 h 3628333"/>
                <a:gd name="connsiteX19" fmla="*/ 211016 w 2219964"/>
                <a:gd name="connsiteY19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371791 w 2219964"/>
                <a:gd name="connsiteY9" fmla="*/ 2687403 h 3628333"/>
                <a:gd name="connsiteX10" fmla="*/ 316525 w 2219964"/>
                <a:gd name="connsiteY10" fmla="*/ 2506532 h 3628333"/>
                <a:gd name="connsiteX11" fmla="*/ 1080199 w 2219964"/>
                <a:gd name="connsiteY11" fmla="*/ 2702476 h 3628333"/>
                <a:gd name="connsiteX12" fmla="*/ 567735 w 2219964"/>
                <a:gd name="connsiteY12" fmla="*/ 2290493 h 3628333"/>
                <a:gd name="connsiteX13" fmla="*/ 763677 w 2219964"/>
                <a:gd name="connsiteY13" fmla="*/ 2049333 h 3628333"/>
                <a:gd name="connsiteX14" fmla="*/ 1381651 w 2219964"/>
                <a:gd name="connsiteY14" fmla="*/ 2521605 h 3628333"/>
                <a:gd name="connsiteX15" fmla="*/ 1577593 w 2219964"/>
                <a:gd name="connsiteY15" fmla="*/ 2280445 h 3628333"/>
                <a:gd name="connsiteX16" fmla="*/ 929475 w 2219964"/>
                <a:gd name="connsiteY16" fmla="*/ 1762955 h 3628333"/>
                <a:gd name="connsiteX17" fmla="*/ 1085224 w 2219964"/>
                <a:gd name="connsiteY17" fmla="*/ 1501697 h 3628333"/>
                <a:gd name="connsiteX18" fmla="*/ 1607739 w 2219964"/>
                <a:gd name="connsiteY18" fmla="*/ 1873486 h 3628333"/>
                <a:gd name="connsiteX19" fmla="*/ 1808706 w 2219964"/>
                <a:gd name="connsiteY19" fmla="*/ 1592132 h 3628333"/>
                <a:gd name="connsiteX20" fmla="*/ 211016 w 2219964"/>
                <a:gd name="connsiteY20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16525 w 2219964"/>
                <a:gd name="connsiteY10" fmla="*/ 2506532 h 3628333"/>
                <a:gd name="connsiteX11" fmla="*/ 1080199 w 2219964"/>
                <a:gd name="connsiteY11" fmla="*/ 2702476 h 3628333"/>
                <a:gd name="connsiteX12" fmla="*/ 567735 w 2219964"/>
                <a:gd name="connsiteY12" fmla="*/ 2290493 h 3628333"/>
                <a:gd name="connsiteX13" fmla="*/ 763677 w 2219964"/>
                <a:gd name="connsiteY13" fmla="*/ 2049333 h 3628333"/>
                <a:gd name="connsiteX14" fmla="*/ 1381651 w 2219964"/>
                <a:gd name="connsiteY14" fmla="*/ 2521605 h 3628333"/>
                <a:gd name="connsiteX15" fmla="*/ 1577593 w 2219964"/>
                <a:gd name="connsiteY15" fmla="*/ 2280445 h 3628333"/>
                <a:gd name="connsiteX16" fmla="*/ 929475 w 2219964"/>
                <a:gd name="connsiteY16" fmla="*/ 1762955 h 3628333"/>
                <a:gd name="connsiteX17" fmla="*/ 1085224 w 2219964"/>
                <a:gd name="connsiteY17" fmla="*/ 1501697 h 3628333"/>
                <a:gd name="connsiteX18" fmla="*/ 1607739 w 2219964"/>
                <a:gd name="connsiteY18" fmla="*/ 1873486 h 3628333"/>
                <a:gd name="connsiteX19" fmla="*/ 1808706 w 2219964"/>
                <a:gd name="connsiteY19" fmla="*/ 1592132 h 3628333"/>
                <a:gd name="connsiteX20" fmla="*/ 211016 w 2219964"/>
                <a:gd name="connsiteY20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16525 w 2219964"/>
                <a:gd name="connsiteY10" fmla="*/ 2506532 h 3628333"/>
                <a:gd name="connsiteX11" fmla="*/ 768701 w 2219964"/>
                <a:gd name="connsiteY11" fmla="*/ 2647210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16525 w 2219964"/>
                <a:gd name="connsiteY10" fmla="*/ 2506532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16525 w 2219964"/>
                <a:gd name="connsiteY10" fmla="*/ 2506532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16525 w 2219964"/>
                <a:gd name="connsiteY10" fmla="*/ 2506532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21549 w 2219964"/>
                <a:gd name="connsiteY10" fmla="*/ 2541701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21549 w 2219964"/>
                <a:gd name="connsiteY10" fmla="*/ 2541701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21549 w 2219964"/>
                <a:gd name="connsiteY10" fmla="*/ 2541701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67733 w 2219964"/>
                <a:gd name="connsiteY8" fmla="*/ 3099385 h 3628333"/>
                <a:gd name="connsiteX9" fmla="*/ 150727 w 2219964"/>
                <a:gd name="connsiteY9" fmla="*/ 2752718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50727 w 2219964"/>
                <a:gd name="connsiteY9" fmla="*/ 2752718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50727 w 2219964"/>
                <a:gd name="connsiteY9" fmla="*/ 2752718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50727 w 2219964"/>
                <a:gd name="connsiteY9" fmla="*/ 2752718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25606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25606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40679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40679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40679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  <a:gd name="connsiteX0" fmla="*/ 211016 w 2219964"/>
                <a:gd name="connsiteY0" fmla="*/ 125072 h 3628333"/>
                <a:gd name="connsiteX1" fmla="*/ 532565 w 2219964"/>
                <a:gd name="connsiteY1" fmla="*/ 4492 h 3628333"/>
                <a:gd name="connsiteX2" fmla="*/ 2054889 w 2219964"/>
                <a:gd name="connsiteY2" fmla="*/ 1386139 h 3628333"/>
                <a:gd name="connsiteX3" fmla="*/ 1919238 w 2219964"/>
                <a:gd name="connsiteY3" fmla="*/ 2240250 h 3628333"/>
                <a:gd name="connsiteX4" fmla="*/ 1436916 w 2219964"/>
                <a:gd name="connsiteY4" fmla="*/ 2868272 h 3628333"/>
                <a:gd name="connsiteX5" fmla="*/ 864159 w 2219964"/>
                <a:gd name="connsiteY5" fmla="*/ 3280255 h 3628333"/>
                <a:gd name="connsiteX6" fmla="*/ 0 w 2219964"/>
                <a:gd name="connsiteY6" fmla="*/ 3521415 h 3628333"/>
                <a:gd name="connsiteX7" fmla="*/ 135654 w 2219964"/>
                <a:gd name="connsiteY7" fmla="*/ 3219965 h 3628333"/>
                <a:gd name="connsiteX8" fmla="*/ 552660 w 2219964"/>
                <a:gd name="connsiteY8" fmla="*/ 3129530 h 3628333"/>
                <a:gd name="connsiteX9" fmla="*/ 140679 w 2219964"/>
                <a:gd name="connsiteY9" fmla="*/ 2757742 h 3628333"/>
                <a:gd name="connsiteX10" fmla="*/ 326573 w 2219964"/>
                <a:gd name="connsiteY10" fmla="*/ 2521604 h 3628333"/>
                <a:gd name="connsiteX11" fmla="*/ 884257 w 2219964"/>
                <a:gd name="connsiteY11" fmla="*/ 2938612 h 3628333"/>
                <a:gd name="connsiteX12" fmla="*/ 1080199 w 2219964"/>
                <a:gd name="connsiteY12" fmla="*/ 2702476 h 3628333"/>
                <a:gd name="connsiteX13" fmla="*/ 567735 w 2219964"/>
                <a:gd name="connsiteY13" fmla="*/ 2290493 h 3628333"/>
                <a:gd name="connsiteX14" fmla="*/ 763677 w 2219964"/>
                <a:gd name="connsiteY14" fmla="*/ 2049333 h 3628333"/>
                <a:gd name="connsiteX15" fmla="*/ 1381651 w 2219964"/>
                <a:gd name="connsiteY15" fmla="*/ 2521605 h 3628333"/>
                <a:gd name="connsiteX16" fmla="*/ 1577593 w 2219964"/>
                <a:gd name="connsiteY16" fmla="*/ 2280445 h 3628333"/>
                <a:gd name="connsiteX17" fmla="*/ 929475 w 2219964"/>
                <a:gd name="connsiteY17" fmla="*/ 1762955 h 3628333"/>
                <a:gd name="connsiteX18" fmla="*/ 1085224 w 2219964"/>
                <a:gd name="connsiteY18" fmla="*/ 1501697 h 3628333"/>
                <a:gd name="connsiteX19" fmla="*/ 1607739 w 2219964"/>
                <a:gd name="connsiteY19" fmla="*/ 1873486 h 3628333"/>
                <a:gd name="connsiteX20" fmla="*/ 1808706 w 2219964"/>
                <a:gd name="connsiteY20" fmla="*/ 1592132 h 3628333"/>
                <a:gd name="connsiteX21" fmla="*/ 211016 w 2219964"/>
                <a:gd name="connsiteY21" fmla="*/ 125072 h 3628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219964" h="3628333">
                  <a:moveTo>
                    <a:pt x="211016" y="125072"/>
                  </a:moveTo>
                  <a:cubicBezTo>
                    <a:pt x="82063" y="-10581"/>
                    <a:pt x="415334" y="-5556"/>
                    <a:pt x="532565" y="4492"/>
                  </a:cubicBezTo>
                  <a:cubicBezTo>
                    <a:pt x="1316336" y="749744"/>
                    <a:pt x="1562521" y="897119"/>
                    <a:pt x="2054889" y="1386139"/>
                  </a:cubicBezTo>
                  <a:cubicBezTo>
                    <a:pt x="2436727" y="1853387"/>
                    <a:pt x="2054890" y="2184984"/>
                    <a:pt x="1919238" y="2240250"/>
                  </a:cubicBezTo>
                  <a:cubicBezTo>
                    <a:pt x="2013024" y="2829754"/>
                    <a:pt x="1574243" y="2861572"/>
                    <a:pt x="1436916" y="2868272"/>
                  </a:cubicBezTo>
                  <a:cubicBezTo>
                    <a:pt x="1318010" y="3369015"/>
                    <a:pt x="993113" y="3251785"/>
                    <a:pt x="864159" y="3280255"/>
                  </a:cubicBezTo>
                  <a:cubicBezTo>
                    <a:pt x="689988" y="3775973"/>
                    <a:pt x="128953" y="3628598"/>
                    <a:pt x="0" y="3521415"/>
                  </a:cubicBezTo>
                  <a:lnTo>
                    <a:pt x="135654" y="3219965"/>
                  </a:lnTo>
                  <a:cubicBezTo>
                    <a:pt x="480646" y="3471175"/>
                    <a:pt x="574432" y="3204892"/>
                    <a:pt x="552660" y="3129530"/>
                  </a:cubicBezTo>
                  <a:cubicBezTo>
                    <a:pt x="592016" y="3040770"/>
                    <a:pt x="242837" y="2901769"/>
                    <a:pt x="140679" y="2757742"/>
                  </a:cubicBezTo>
                  <a:cubicBezTo>
                    <a:pt x="38521" y="2658933"/>
                    <a:pt x="138167" y="2418609"/>
                    <a:pt x="326573" y="2521604"/>
                  </a:cubicBezTo>
                  <a:cubicBezTo>
                    <a:pt x="449666" y="2609527"/>
                    <a:pt x="756978" y="2905955"/>
                    <a:pt x="884257" y="2938612"/>
                  </a:cubicBezTo>
                  <a:cubicBezTo>
                    <a:pt x="1142164" y="3031559"/>
                    <a:pt x="1168959" y="2766953"/>
                    <a:pt x="1080199" y="2702476"/>
                  </a:cubicBezTo>
                  <a:cubicBezTo>
                    <a:pt x="874208" y="2507371"/>
                    <a:pt x="825642" y="2548400"/>
                    <a:pt x="567735" y="2290493"/>
                  </a:cubicBezTo>
                  <a:cubicBezTo>
                    <a:pt x="487348" y="2178287"/>
                    <a:pt x="542613" y="2005790"/>
                    <a:pt x="763677" y="2049333"/>
                  </a:cubicBezTo>
                  <a:cubicBezTo>
                    <a:pt x="886769" y="2122184"/>
                    <a:pt x="1245998" y="2483086"/>
                    <a:pt x="1381651" y="2521605"/>
                  </a:cubicBezTo>
                  <a:cubicBezTo>
                    <a:pt x="1602715" y="2665631"/>
                    <a:pt x="1710734" y="2346597"/>
                    <a:pt x="1577593" y="2280445"/>
                  </a:cubicBezTo>
                  <a:cubicBezTo>
                    <a:pt x="1524839" y="2209269"/>
                    <a:pt x="1025771" y="1855065"/>
                    <a:pt x="929475" y="1762955"/>
                  </a:cubicBezTo>
                  <a:cubicBezTo>
                    <a:pt x="767027" y="1603855"/>
                    <a:pt x="966319" y="1414611"/>
                    <a:pt x="1085224" y="1501697"/>
                  </a:cubicBezTo>
                  <a:lnTo>
                    <a:pt x="1607739" y="1873486"/>
                  </a:lnTo>
                  <a:cubicBezTo>
                    <a:pt x="1847224" y="2077801"/>
                    <a:pt x="2001300" y="1724436"/>
                    <a:pt x="1808706" y="1592132"/>
                  </a:cubicBezTo>
                  <a:lnTo>
                    <a:pt x="211016" y="12507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131" name="Rectangle 130">
            <a:extLst>
              <a:ext uri="{FF2B5EF4-FFF2-40B4-BE49-F238E27FC236}">
                <a16:creationId xmlns:a16="http://schemas.microsoft.com/office/drawing/2014/main" id="{06D84B38-2785-4FBB-8A19-D53313E1DC1E}"/>
              </a:ext>
            </a:extLst>
          </p:cNvPr>
          <p:cNvSpPr/>
          <p:nvPr/>
        </p:nvSpPr>
        <p:spPr>
          <a:xfrm>
            <a:off x="3069286" y="3635224"/>
            <a:ext cx="1551244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Arial" panose="020B0604020202020204" pitchFamily="34" charset="0"/>
              </a:rPr>
              <a:t>Prior-year SER recipients receive email prompts to seek help </a:t>
            </a:r>
          </a:p>
          <a:p>
            <a:pPr algn="ctr"/>
            <a:endParaRPr lang="en-US" sz="120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Arial" panose="020B0604020202020204" pitchFamily="34" charset="0"/>
              </a:rPr>
              <a:t>LSP enrollees</a:t>
            </a:r>
          </a:p>
          <a:p>
            <a:pPr algn="ctr"/>
            <a:r>
              <a:rPr lang="en-US" sz="120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Arial" panose="020B0604020202020204" pitchFamily="34" charset="0"/>
              </a:rPr>
              <a:t>notified of missed payments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301BFBFD-7135-4C49-AA16-37A8E4DC09F3}"/>
              </a:ext>
            </a:extLst>
          </p:cNvPr>
          <p:cNvSpPr/>
          <p:nvPr/>
        </p:nvSpPr>
        <p:spPr>
          <a:xfrm>
            <a:off x="7576596" y="3324912"/>
            <a:ext cx="1625689" cy="175432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ea typeface="Verdana" panose="020B0604030504040204" pitchFamily="34" charset="0"/>
              </a:rPr>
              <a:t>Virtual webinar in partnership with MSHDA to raise awareness</a:t>
            </a:r>
          </a:p>
          <a:p>
            <a:pPr algn="ctr"/>
            <a:endParaRPr lang="en-US" sz="1200" dirty="0">
              <a:solidFill>
                <a:prstClr val="black">
                  <a:lumMod val="75000"/>
                  <a:lumOff val="25000"/>
                </a:prstClr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ea typeface="Verdana" panose="020B0604030504040204" pitchFamily="34" charset="0"/>
                <a:cs typeface="Arial" panose="020B0604020202020204" pitchFamily="34" charset="0"/>
              </a:rPr>
              <a:t>Virtual Customer Assistance Days to promote MEAP and SER assistance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B2F80B38-DD6E-4639-B69C-1C97B9AA2C0D}"/>
              </a:ext>
            </a:extLst>
          </p:cNvPr>
          <p:cNvSpPr/>
          <p:nvPr/>
        </p:nvSpPr>
        <p:spPr>
          <a:xfrm>
            <a:off x="1655625" y="3686053"/>
            <a:ext cx="1369039" cy="830997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>
                <a:ea typeface="Verdana" panose="020B0604030504040204" pitchFamily="34" charset="0"/>
              </a:rPr>
              <a:t>Automated letters generated to motivate potentially eligible customers 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BB62F3A8-2A99-427F-BD67-3CF06168994B}"/>
              </a:ext>
            </a:extLst>
          </p:cNvPr>
          <p:cNvSpPr/>
          <p:nvPr/>
        </p:nvSpPr>
        <p:spPr>
          <a:xfrm>
            <a:off x="6089664" y="3059617"/>
            <a:ext cx="1459008" cy="249299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ea typeface="Verdana"/>
              </a:rPr>
              <a:t>Residential Customers in arrears file sent to MDHHS for LIHEAP Direct Support</a:t>
            </a:r>
          </a:p>
          <a:p>
            <a:pPr algn="ctr"/>
            <a:endParaRPr lang="en-US" sz="1200" dirty="0">
              <a:ea typeface="Verdana"/>
            </a:endParaRPr>
          </a:p>
          <a:p>
            <a:pPr algn="ctr"/>
            <a:r>
              <a:rPr lang="en-US" sz="1200" dirty="0">
                <a:ea typeface="Verdana"/>
              </a:rPr>
              <a:t>SER recipients without MEAP assistance are </a:t>
            </a:r>
            <a:endParaRPr lang="en-US" sz="1200" dirty="0">
              <a:ea typeface="Verdana" panose="020B0604030504040204" pitchFamily="34" charset="0"/>
            </a:endParaRPr>
          </a:p>
          <a:p>
            <a:pPr algn="ctr"/>
            <a:r>
              <a:rPr lang="en-US" sz="1200" dirty="0">
                <a:ea typeface="Verdana"/>
              </a:rPr>
              <a:t>sent to agencies who make outbound calls to customers</a:t>
            </a:r>
            <a:endParaRPr lang="en-US" sz="1200" dirty="0">
              <a:ea typeface="Verdana" panose="020B0604030504040204" pitchFamily="34" charset="0"/>
              <a:cs typeface="Calibri"/>
            </a:endParaRPr>
          </a:p>
        </p:txBody>
      </p:sp>
      <p:sp>
        <p:nvSpPr>
          <p:cNvPr id="124" name="Rectangle 4">
            <a:extLst>
              <a:ext uri="{FF2B5EF4-FFF2-40B4-BE49-F238E27FC236}">
                <a16:creationId xmlns:a16="http://schemas.microsoft.com/office/drawing/2014/main" id="{9BD61A00-C100-4B23-B9CD-AF7226E7BFEA}"/>
              </a:ext>
            </a:extLst>
          </p:cNvPr>
          <p:cNvSpPr/>
          <p:nvPr/>
        </p:nvSpPr>
        <p:spPr>
          <a:xfrm>
            <a:off x="150667" y="1935651"/>
            <a:ext cx="1316736" cy="3515086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72000">
                <a:schemeClr val="bg1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15CCED8-C3E0-498F-A5D5-5DCA74741B67}"/>
              </a:ext>
            </a:extLst>
          </p:cNvPr>
          <p:cNvSpPr/>
          <p:nvPr/>
        </p:nvSpPr>
        <p:spPr>
          <a:xfrm>
            <a:off x="150667" y="5455515"/>
            <a:ext cx="1316736" cy="731520"/>
          </a:xfrm>
          <a:prstGeom prst="rect">
            <a:avLst/>
          </a:prstGeom>
          <a:solidFill>
            <a:srgbClr val="DBA4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bound Call Campaig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9CBCE82-8CCB-46FB-8176-44A8142D60E3}"/>
              </a:ext>
            </a:extLst>
          </p:cNvPr>
          <p:cNvGrpSpPr/>
          <p:nvPr/>
        </p:nvGrpSpPr>
        <p:grpSpPr>
          <a:xfrm>
            <a:off x="80457" y="1712631"/>
            <a:ext cx="1372584" cy="1317772"/>
            <a:chOff x="80457" y="1712631"/>
            <a:chExt cx="1372584" cy="131777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0C642C17-17FE-4783-B974-CD3F4117594F}"/>
                </a:ext>
              </a:extLst>
            </p:cNvPr>
            <p:cNvGrpSpPr/>
            <p:nvPr/>
          </p:nvGrpSpPr>
          <p:grpSpPr>
            <a:xfrm>
              <a:off x="80457" y="1712631"/>
              <a:ext cx="1372584" cy="1317772"/>
              <a:chOff x="10640414" y="2402278"/>
              <a:chExt cx="1372584" cy="1317772"/>
            </a:xfrm>
          </p:grpSpPr>
          <p:sp>
            <p:nvSpPr>
              <p:cNvPr id="108" name="Freeform 40">
                <a:extLst>
                  <a:ext uri="{FF2B5EF4-FFF2-40B4-BE49-F238E27FC236}">
                    <a16:creationId xmlns:a16="http://schemas.microsoft.com/office/drawing/2014/main" id="{9755D097-C682-45FE-8763-BEDAAC6CB7A6}"/>
                  </a:ext>
                </a:extLst>
              </p:cNvPr>
              <p:cNvSpPr/>
              <p:nvPr/>
            </p:nvSpPr>
            <p:spPr>
              <a:xfrm flipV="1">
                <a:off x="10640414" y="2402278"/>
                <a:ext cx="1372584" cy="1317772"/>
              </a:xfrm>
              <a:custGeom>
                <a:avLst/>
                <a:gdLst>
                  <a:gd name="connsiteX0" fmla="*/ 1177210 w 2354420"/>
                  <a:gd name="connsiteY0" fmla="*/ 2374519 h 2582560"/>
                  <a:gd name="connsiteX1" fmla="*/ 208041 w 2354420"/>
                  <a:gd name="connsiteY1" fmla="*/ 1405350 h 2582560"/>
                  <a:gd name="connsiteX2" fmla="*/ 1177210 w 2354420"/>
                  <a:gd name="connsiteY2" fmla="*/ 436181 h 2582560"/>
                  <a:gd name="connsiteX3" fmla="*/ 2146379 w 2354420"/>
                  <a:gd name="connsiteY3" fmla="*/ 1405350 h 2582560"/>
                  <a:gd name="connsiteX4" fmla="*/ 1177210 w 2354420"/>
                  <a:gd name="connsiteY4" fmla="*/ 2374519 h 2582560"/>
                  <a:gd name="connsiteX5" fmla="*/ 1177210 w 2354420"/>
                  <a:gd name="connsiteY5" fmla="*/ 2582560 h 2582560"/>
                  <a:gd name="connsiteX6" fmla="*/ 2354420 w 2354420"/>
                  <a:gd name="connsiteY6" fmla="*/ 1405350 h 2582560"/>
                  <a:gd name="connsiteX7" fmla="*/ 1527276 w 2354420"/>
                  <a:gd name="connsiteY7" fmla="*/ 281065 h 2582560"/>
                  <a:gd name="connsiteX8" fmla="*/ 1473076 w 2354420"/>
                  <a:gd name="connsiteY8" fmla="*/ 267129 h 2582560"/>
                  <a:gd name="connsiteX9" fmla="*/ 1199796 w 2354420"/>
                  <a:gd name="connsiteY9" fmla="*/ 0 h 2582560"/>
                  <a:gd name="connsiteX10" fmla="*/ 985770 w 2354420"/>
                  <a:gd name="connsiteY10" fmla="*/ 245066 h 2582560"/>
                  <a:gd name="connsiteX11" fmla="*/ 939961 w 2354420"/>
                  <a:gd name="connsiteY11" fmla="*/ 252057 h 2582560"/>
                  <a:gd name="connsiteX12" fmla="*/ 0 w 2354420"/>
                  <a:gd name="connsiteY12" fmla="*/ 1405350 h 2582560"/>
                  <a:gd name="connsiteX13" fmla="*/ 1177210 w 2354420"/>
                  <a:gd name="connsiteY13" fmla="*/ 2582560 h 25825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54420" h="2582560">
                    <a:moveTo>
                      <a:pt x="1177210" y="2374519"/>
                    </a:moveTo>
                    <a:cubicBezTo>
                      <a:pt x="641953" y="2374519"/>
                      <a:pt x="208041" y="1940607"/>
                      <a:pt x="208041" y="1405350"/>
                    </a:cubicBezTo>
                    <a:cubicBezTo>
                      <a:pt x="208041" y="870093"/>
                      <a:pt x="641953" y="436181"/>
                      <a:pt x="1177210" y="436181"/>
                    </a:cubicBezTo>
                    <a:cubicBezTo>
                      <a:pt x="1712467" y="436181"/>
                      <a:pt x="2146379" y="870093"/>
                      <a:pt x="2146379" y="1405350"/>
                    </a:cubicBezTo>
                    <a:cubicBezTo>
                      <a:pt x="2146379" y="1940607"/>
                      <a:pt x="1712467" y="2374519"/>
                      <a:pt x="1177210" y="2374519"/>
                    </a:cubicBezTo>
                    <a:close/>
                    <a:moveTo>
                      <a:pt x="1177210" y="2582560"/>
                    </a:moveTo>
                    <a:cubicBezTo>
                      <a:pt x="1827365" y="2582560"/>
                      <a:pt x="2354420" y="2055505"/>
                      <a:pt x="2354420" y="1405350"/>
                    </a:cubicBezTo>
                    <a:cubicBezTo>
                      <a:pt x="2354420" y="877099"/>
                      <a:pt x="2006482" y="430113"/>
                      <a:pt x="1527276" y="281065"/>
                    </a:cubicBezTo>
                    <a:lnTo>
                      <a:pt x="1473076" y="267129"/>
                    </a:lnTo>
                    <a:lnTo>
                      <a:pt x="1199796" y="0"/>
                    </a:lnTo>
                    <a:lnTo>
                      <a:pt x="985770" y="245066"/>
                    </a:lnTo>
                    <a:lnTo>
                      <a:pt x="939961" y="252057"/>
                    </a:lnTo>
                    <a:cubicBezTo>
                      <a:pt x="403526" y="361827"/>
                      <a:pt x="0" y="836464"/>
                      <a:pt x="0" y="1405350"/>
                    </a:cubicBezTo>
                    <a:cubicBezTo>
                      <a:pt x="0" y="2055505"/>
                      <a:pt x="527055" y="2582560"/>
                      <a:pt x="1177210" y="2582560"/>
                    </a:cubicBezTo>
                    <a:close/>
                  </a:path>
                </a:pathLst>
              </a:custGeom>
              <a:solidFill>
                <a:srgbClr val="DBA459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09" name="Freeform 52">
                <a:extLst>
                  <a:ext uri="{FF2B5EF4-FFF2-40B4-BE49-F238E27FC236}">
                    <a16:creationId xmlns:a16="http://schemas.microsoft.com/office/drawing/2014/main" id="{9E8C2BDA-6D45-43A4-B7CC-AAECDF7C77BC}"/>
                  </a:ext>
                </a:extLst>
              </p:cNvPr>
              <p:cNvSpPr/>
              <p:nvPr/>
            </p:nvSpPr>
            <p:spPr>
              <a:xfrm>
                <a:off x="10739504" y="2488606"/>
                <a:ext cx="1203284" cy="1032860"/>
              </a:xfrm>
              <a:custGeom>
                <a:avLst/>
                <a:gdLst>
                  <a:gd name="connsiteX0" fmla="*/ 1177210 w 2354420"/>
                  <a:gd name="connsiteY0" fmla="*/ 208041 h 2354420"/>
                  <a:gd name="connsiteX1" fmla="*/ 208041 w 2354420"/>
                  <a:gd name="connsiteY1" fmla="*/ 1177210 h 2354420"/>
                  <a:gd name="connsiteX2" fmla="*/ 1177210 w 2354420"/>
                  <a:gd name="connsiteY2" fmla="*/ 2146379 h 2354420"/>
                  <a:gd name="connsiteX3" fmla="*/ 2146379 w 2354420"/>
                  <a:gd name="connsiteY3" fmla="*/ 1177210 h 2354420"/>
                  <a:gd name="connsiteX4" fmla="*/ 1177210 w 2354420"/>
                  <a:gd name="connsiteY4" fmla="*/ 208041 h 2354420"/>
                  <a:gd name="connsiteX5" fmla="*/ 1177210 w 2354420"/>
                  <a:gd name="connsiteY5" fmla="*/ 0 h 2354420"/>
                  <a:gd name="connsiteX6" fmla="*/ 2354420 w 2354420"/>
                  <a:gd name="connsiteY6" fmla="*/ 1177210 h 2354420"/>
                  <a:gd name="connsiteX7" fmla="*/ 1177210 w 2354420"/>
                  <a:gd name="connsiteY7" fmla="*/ 2354420 h 2354420"/>
                  <a:gd name="connsiteX8" fmla="*/ 0 w 2354420"/>
                  <a:gd name="connsiteY8" fmla="*/ 1177210 h 2354420"/>
                  <a:gd name="connsiteX9" fmla="*/ 1177210 w 2354420"/>
                  <a:gd name="connsiteY9" fmla="*/ 0 h 2354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54420" h="2354420">
                    <a:moveTo>
                      <a:pt x="1177210" y="208041"/>
                    </a:moveTo>
                    <a:cubicBezTo>
                      <a:pt x="641953" y="208041"/>
                      <a:pt x="208041" y="641953"/>
                      <a:pt x="208041" y="1177210"/>
                    </a:cubicBezTo>
                    <a:cubicBezTo>
                      <a:pt x="208041" y="1712467"/>
                      <a:pt x="641953" y="2146379"/>
                      <a:pt x="1177210" y="2146379"/>
                    </a:cubicBezTo>
                    <a:cubicBezTo>
                      <a:pt x="1712467" y="2146379"/>
                      <a:pt x="2146379" y="1712467"/>
                      <a:pt x="2146379" y="1177210"/>
                    </a:cubicBezTo>
                    <a:cubicBezTo>
                      <a:pt x="2146379" y="641953"/>
                      <a:pt x="1712467" y="208041"/>
                      <a:pt x="1177210" y="208041"/>
                    </a:cubicBezTo>
                    <a:close/>
                    <a:moveTo>
                      <a:pt x="1177210" y="0"/>
                    </a:moveTo>
                    <a:cubicBezTo>
                      <a:pt x="1827365" y="0"/>
                      <a:pt x="2354420" y="527055"/>
                      <a:pt x="2354420" y="1177210"/>
                    </a:cubicBezTo>
                    <a:cubicBezTo>
                      <a:pt x="2354420" y="1827365"/>
                      <a:pt x="1827365" y="2354420"/>
                      <a:pt x="1177210" y="2354420"/>
                    </a:cubicBezTo>
                    <a:cubicBezTo>
                      <a:pt x="527055" y="2354420"/>
                      <a:pt x="0" y="1827365"/>
                      <a:pt x="0" y="1177210"/>
                    </a:cubicBezTo>
                    <a:cubicBezTo>
                      <a:pt x="0" y="527055"/>
                      <a:pt x="527055" y="0"/>
                      <a:pt x="1177210" y="0"/>
                    </a:cubicBez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lumMod val="75000"/>
                    </a:schemeClr>
                  </a:gs>
                  <a:gs pos="0">
                    <a:schemeClr val="bg1">
                      <a:lumMod val="75000"/>
                    </a:schemeClr>
                  </a:gs>
                  <a:gs pos="50000">
                    <a:schemeClr val="bg1">
                      <a:lumMod val="95000"/>
                    </a:schemeClr>
                  </a:gs>
                </a:gsLst>
                <a:lin ang="0" scaled="1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8577586B-7AB8-44AE-B2DC-ED5B82483A9F}"/>
                </a:ext>
              </a:extLst>
            </p:cNvPr>
            <p:cNvGrpSpPr/>
            <p:nvPr/>
          </p:nvGrpSpPr>
          <p:grpSpPr>
            <a:xfrm>
              <a:off x="562728" y="2089885"/>
              <a:ext cx="503965" cy="469839"/>
              <a:chOff x="562728" y="2089885"/>
              <a:chExt cx="503965" cy="469839"/>
            </a:xfrm>
          </p:grpSpPr>
          <p:sp>
            <p:nvSpPr>
              <p:cNvPr id="119" name="Rounded Rectangle 458">
                <a:extLst>
                  <a:ext uri="{FF2B5EF4-FFF2-40B4-BE49-F238E27FC236}">
                    <a16:creationId xmlns:a16="http://schemas.microsoft.com/office/drawing/2014/main" id="{BE8B97A9-EEE1-419F-BD93-B3FE363C5AC7}"/>
                  </a:ext>
                </a:extLst>
              </p:cNvPr>
              <p:cNvSpPr/>
              <p:nvPr/>
            </p:nvSpPr>
            <p:spPr>
              <a:xfrm rot="20849668">
                <a:off x="562728" y="2089885"/>
                <a:ext cx="316191" cy="469839"/>
              </a:xfrm>
              <a:custGeom>
                <a:avLst/>
                <a:gdLst>
                  <a:gd name="connsiteX0" fmla="*/ 0 w 1342263"/>
                  <a:gd name="connsiteY0" fmla="*/ 367337 h 2917372"/>
                  <a:gd name="connsiteX1" fmla="*/ 367337 w 1342263"/>
                  <a:gd name="connsiteY1" fmla="*/ 0 h 2917372"/>
                  <a:gd name="connsiteX2" fmla="*/ 974926 w 1342263"/>
                  <a:gd name="connsiteY2" fmla="*/ 0 h 2917372"/>
                  <a:gd name="connsiteX3" fmla="*/ 1342263 w 1342263"/>
                  <a:gd name="connsiteY3" fmla="*/ 367337 h 2917372"/>
                  <a:gd name="connsiteX4" fmla="*/ 1342263 w 1342263"/>
                  <a:gd name="connsiteY4" fmla="*/ 2550035 h 2917372"/>
                  <a:gd name="connsiteX5" fmla="*/ 974926 w 1342263"/>
                  <a:gd name="connsiteY5" fmla="*/ 2917372 h 2917372"/>
                  <a:gd name="connsiteX6" fmla="*/ 367337 w 1342263"/>
                  <a:gd name="connsiteY6" fmla="*/ 2917372 h 2917372"/>
                  <a:gd name="connsiteX7" fmla="*/ 0 w 1342263"/>
                  <a:gd name="connsiteY7" fmla="*/ 2550035 h 2917372"/>
                  <a:gd name="connsiteX8" fmla="*/ 0 w 1342263"/>
                  <a:gd name="connsiteY8" fmla="*/ 367337 h 2917372"/>
                  <a:gd name="connsiteX0" fmla="*/ 0 w 1342263"/>
                  <a:gd name="connsiteY0" fmla="*/ 369964 h 2919999"/>
                  <a:gd name="connsiteX1" fmla="*/ 974926 w 1342263"/>
                  <a:gd name="connsiteY1" fmla="*/ 2627 h 2919999"/>
                  <a:gd name="connsiteX2" fmla="*/ 1342263 w 1342263"/>
                  <a:gd name="connsiteY2" fmla="*/ 369964 h 2919999"/>
                  <a:gd name="connsiteX3" fmla="*/ 1342263 w 1342263"/>
                  <a:gd name="connsiteY3" fmla="*/ 2552662 h 2919999"/>
                  <a:gd name="connsiteX4" fmla="*/ 974926 w 1342263"/>
                  <a:gd name="connsiteY4" fmla="*/ 2919999 h 2919999"/>
                  <a:gd name="connsiteX5" fmla="*/ 367337 w 1342263"/>
                  <a:gd name="connsiteY5" fmla="*/ 2919999 h 2919999"/>
                  <a:gd name="connsiteX6" fmla="*/ 0 w 1342263"/>
                  <a:gd name="connsiteY6" fmla="*/ 2552662 h 2919999"/>
                  <a:gd name="connsiteX7" fmla="*/ 0 w 1342263"/>
                  <a:gd name="connsiteY7" fmla="*/ 369964 h 2919999"/>
                  <a:gd name="connsiteX0" fmla="*/ 0 w 1379977"/>
                  <a:gd name="connsiteY0" fmla="*/ 537376 h 2917372"/>
                  <a:gd name="connsiteX1" fmla="*/ 1012640 w 1379977"/>
                  <a:gd name="connsiteY1" fmla="*/ 0 h 2917372"/>
                  <a:gd name="connsiteX2" fmla="*/ 1379977 w 1379977"/>
                  <a:gd name="connsiteY2" fmla="*/ 367337 h 2917372"/>
                  <a:gd name="connsiteX3" fmla="*/ 1379977 w 1379977"/>
                  <a:gd name="connsiteY3" fmla="*/ 2550035 h 2917372"/>
                  <a:gd name="connsiteX4" fmla="*/ 1012640 w 1379977"/>
                  <a:gd name="connsiteY4" fmla="*/ 2917372 h 2917372"/>
                  <a:gd name="connsiteX5" fmla="*/ 405051 w 1379977"/>
                  <a:gd name="connsiteY5" fmla="*/ 2917372 h 2917372"/>
                  <a:gd name="connsiteX6" fmla="*/ 37714 w 1379977"/>
                  <a:gd name="connsiteY6" fmla="*/ 2550035 h 2917372"/>
                  <a:gd name="connsiteX7" fmla="*/ 0 w 1379977"/>
                  <a:gd name="connsiteY7" fmla="*/ 537376 h 2917372"/>
                  <a:gd name="connsiteX0" fmla="*/ 0 w 1379977"/>
                  <a:gd name="connsiteY0" fmla="*/ 569870 h 2949866"/>
                  <a:gd name="connsiteX1" fmla="*/ 1012640 w 1379977"/>
                  <a:gd name="connsiteY1" fmla="*/ 32494 h 2949866"/>
                  <a:gd name="connsiteX2" fmla="*/ 1379977 w 1379977"/>
                  <a:gd name="connsiteY2" fmla="*/ 399831 h 2949866"/>
                  <a:gd name="connsiteX3" fmla="*/ 1379977 w 1379977"/>
                  <a:gd name="connsiteY3" fmla="*/ 2582529 h 2949866"/>
                  <a:gd name="connsiteX4" fmla="*/ 1012640 w 1379977"/>
                  <a:gd name="connsiteY4" fmla="*/ 2949866 h 2949866"/>
                  <a:gd name="connsiteX5" fmla="*/ 405051 w 1379977"/>
                  <a:gd name="connsiteY5" fmla="*/ 2949866 h 2949866"/>
                  <a:gd name="connsiteX6" fmla="*/ 37714 w 1379977"/>
                  <a:gd name="connsiteY6" fmla="*/ 2582529 h 2949866"/>
                  <a:gd name="connsiteX7" fmla="*/ 0 w 1379977"/>
                  <a:gd name="connsiteY7" fmla="*/ 569870 h 2949866"/>
                  <a:gd name="connsiteX0" fmla="*/ 0 w 1379977"/>
                  <a:gd name="connsiteY0" fmla="*/ 595960 h 2975956"/>
                  <a:gd name="connsiteX1" fmla="*/ 1018926 w 1379977"/>
                  <a:gd name="connsiteY1" fmla="*/ 30244 h 2975956"/>
                  <a:gd name="connsiteX2" fmla="*/ 1379977 w 1379977"/>
                  <a:gd name="connsiteY2" fmla="*/ 425921 h 2975956"/>
                  <a:gd name="connsiteX3" fmla="*/ 1379977 w 1379977"/>
                  <a:gd name="connsiteY3" fmla="*/ 2608619 h 2975956"/>
                  <a:gd name="connsiteX4" fmla="*/ 1012640 w 1379977"/>
                  <a:gd name="connsiteY4" fmla="*/ 2975956 h 2975956"/>
                  <a:gd name="connsiteX5" fmla="*/ 405051 w 1379977"/>
                  <a:gd name="connsiteY5" fmla="*/ 2975956 h 2975956"/>
                  <a:gd name="connsiteX6" fmla="*/ 37714 w 1379977"/>
                  <a:gd name="connsiteY6" fmla="*/ 2608619 h 2975956"/>
                  <a:gd name="connsiteX7" fmla="*/ 0 w 1379977"/>
                  <a:gd name="connsiteY7" fmla="*/ 595960 h 2975956"/>
                  <a:gd name="connsiteX0" fmla="*/ 0 w 1379977"/>
                  <a:gd name="connsiteY0" fmla="*/ 595960 h 2975956"/>
                  <a:gd name="connsiteX1" fmla="*/ 1018926 w 1379977"/>
                  <a:gd name="connsiteY1" fmla="*/ 30244 h 2975956"/>
                  <a:gd name="connsiteX2" fmla="*/ 1379977 w 1379977"/>
                  <a:gd name="connsiteY2" fmla="*/ 425921 h 2975956"/>
                  <a:gd name="connsiteX3" fmla="*/ 1379977 w 1379977"/>
                  <a:gd name="connsiteY3" fmla="*/ 2608619 h 2975956"/>
                  <a:gd name="connsiteX4" fmla="*/ 1012640 w 1379977"/>
                  <a:gd name="connsiteY4" fmla="*/ 2975956 h 2975956"/>
                  <a:gd name="connsiteX5" fmla="*/ 405051 w 1379977"/>
                  <a:gd name="connsiteY5" fmla="*/ 2975956 h 2975956"/>
                  <a:gd name="connsiteX6" fmla="*/ 37714 w 1379977"/>
                  <a:gd name="connsiteY6" fmla="*/ 2608619 h 2975956"/>
                  <a:gd name="connsiteX7" fmla="*/ 0 w 1379977"/>
                  <a:gd name="connsiteY7" fmla="*/ 595960 h 2975956"/>
                  <a:gd name="connsiteX0" fmla="*/ 0 w 1379977"/>
                  <a:gd name="connsiteY0" fmla="*/ 582470 h 2962466"/>
                  <a:gd name="connsiteX1" fmla="*/ 1018926 w 1379977"/>
                  <a:gd name="connsiteY1" fmla="*/ 16754 h 2962466"/>
                  <a:gd name="connsiteX2" fmla="*/ 1379977 w 1379977"/>
                  <a:gd name="connsiteY2" fmla="*/ 412431 h 2962466"/>
                  <a:gd name="connsiteX3" fmla="*/ 1379977 w 1379977"/>
                  <a:gd name="connsiteY3" fmla="*/ 2595129 h 2962466"/>
                  <a:gd name="connsiteX4" fmla="*/ 1012640 w 1379977"/>
                  <a:gd name="connsiteY4" fmla="*/ 2962466 h 2962466"/>
                  <a:gd name="connsiteX5" fmla="*/ 405051 w 1379977"/>
                  <a:gd name="connsiteY5" fmla="*/ 2962466 h 2962466"/>
                  <a:gd name="connsiteX6" fmla="*/ 37714 w 1379977"/>
                  <a:gd name="connsiteY6" fmla="*/ 2595129 h 2962466"/>
                  <a:gd name="connsiteX7" fmla="*/ 0 w 1379977"/>
                  <a:gd name="connsiteY7" fmla="*/ 582470 h 2962466"/>
                  <a:gd name="connsiteX0" fmla="*/ 55190 w 1435167"/>
                  <a:gd name="connsiteY0" fmla="*/ 582470 h 2962466"/>
                  <a:gd name="connsiteX1" fmla="*/ 1074116 w 1435167"/>
                  <a:gd name="connsiteY1" fmla="*/ 16754 h 2962466"/>
                  <a:gd name="connsiteX2" fmla="*/ 1435167 w 1435167"/>
                  <a:gd name="connsiteY2" fmla="*/ 412431 h 2962466"/>
                  <a:gd name="connsiteX3" fmla="*/ 1435167 w 1435167"/>
                  <a:gd name="connsiteY3" fmla="*/ 2595129 h 2962466"/>
                  <a:gd name="connsiteX4" fmla="*/ 1067830 w 1435167"/>
                  <a:gd name="connsiteY4" fmla="*/ 2962466 h 2962466"/>
                  <a:gd name="connsiteX5" fmla="*/ 460241 w 1435167"/>
                  <a:gd name="connsiteY5" fmla="*/ 2962466 h 2962466"/>
                  <a:gd name="connsiteX6" fmla="*/ 0 w 1435167"/>
                  <a:gd name="connsiteY6" fmla="*/ 2544789 h 2962466"/>
                  <a:gd name="connsiteX7" fmla="*/ 55190 w 1435167"/>
                  <a:gd name="connsiteY7" fmla="*/ 582470 h 2962466"/>
                  <a:gd name="connsiteX0" fmla="*/ 55190 w 1435167"/>
                  <a:gd name="connsiteY0" fmla="*/ 582470 h 2962466"/>
                  <a:gd name="connsiteX1" fmla="*/ 1074116 w 1435167"/>
                  <a:gd name="connsiteY1" fmla="*/ 16754 h 2962466"/>
                  <a:gd name="connsiteX2" fmla="*/ 1435167 w 1435167"/>
                  <a:gd name="connsiteY2" fmla="*/ 412431 h 2962466"/>
                  <a:gd name="connsiteX3" fmla="*/ 1435167 w 1435167"/>
                  <a:gd name="connsiteY3" fmla="*/ 2595129 h 2962466"/>
                  <a:gd name="connsiteX4" fmla="*/ 631324 w 1435167"/>
                  <a:gd name="connsiteY4" fmla="*/ 1914162 h 2962466"/>
                  <a:gd name="connsiteX5" fmla="*/ 460241 w 1435167"/>
                  <a:gd name="connsiteY5" fmla="*/ 2962466 h 2962466"/>
                  <a:gd name="connsiteX6" fmla="*/ 0 w 1435167"/>
                  <a:gd name="connsiteY6" fmla="*/ 2544789 h 2962466"/>
                  <a:gd name="connsiteX7" fmla="*/ 55190 w 1435167"/>
                  <a:gd name="connsiteY7" fmla="*/ 582470 h 2962466"/>
                  <a:gd name="connsiteX0" fmla="*/ 55190 w 1435167"/>
                  <a:gd name="connsiteY0" fmla="*/ 582470 h 2962466"/>
                  <a:gd name="connsiteX1" fmla="*/ 1074116 w 1435167"/>
                  <a:gd name="connsiteY1" fmla="*/ 16754 h 2962466"/>
                  <a:gd name="connsiteX2" fmla="*/ 1435167 w 1435167"/>
                  <a:gd name="connsiteY2" fmla="*/ 412431 h 2962466"/>
                  <a:gd name="connsiteX3" fmla="*/ 1426957 w 1435167"/>
                  <a:gd name="connsiteY3" fmla="*/ 1760756 h 2962466"/>
                  <a:gd name="connsiteX4" fmla="*/ 631324 w 1435167"/>
                  <a:gd name="connsiteY4" fmla="*/ 1914162 h 2962466"/>
                  <a:gd name="connsiteX5" fmla="*/ 460241 w 1435167"/>
                  <a:gd name="connsiteY5" fmla="*/ 2962466 h 2962466"/>
                  <a:gd name="connsiteX6" fmla="*/ 0 w 1435167"/>
                  <a:gd name="connsiteY6" fmla="*/ 2544789 h 2962466"/>
                  <a:gd name="connsiteX7" fmla="*/ 55190 w 1435167"/>
                  <a:gd name="connsiteY7" fmla="*/ 582470 h 2962466"/>
                  <a:gd name="connsiteX0" fmla="*/ 55190 w 1435167"/>
                  <a:gd name="connsiteY0" fmla="*/ 582470 h 2962466"/>
                  <a:gd name="connsiteX1" fmla="*/ 1074116 w 1435167"/>
                  <a:gd name="connsiteY1" fmla="*/ 16754 h 2962466"/>
                  <a:gd name="connsiteX2" fmla="*/ 1435167 w 1435167"/>
                  <a:gd name="connsiteY2" fmla="*/ 412431 h 2962466"/>
                  <a:gd name="connsiteX3" fmla="*/ 1426957 w 1435167"/>
                  <a:gd name="connsiteY3" fmla="*/ 1760756 h 2962466"/>
                  <a:gd name="connsiteX4" fmla="*/ 631324 w 1435167"/>
                  <a:gd name="connsiteY4" fmla="*/ 1914162 h 2962466"/>
                  <a:gd name="connsiteX5" fmla="*/ 460241 w 1435167"/>
                  <a:gd name="connsiteY5" fmla="*/ 2962466 h 2962466"/>
                  <a:gd name="connsiteX6" fmla="*/ 0 w 1435167"/>
                  <a:gd name="connsiteY6" fmla="*/ 2544789 h 2962466"/>
                  <a:gd name="connsiteX7" fmla="*/ 55190 w 1435167"/>
                  <a:gd name="connsiteY7" fmla="*/ 582470 h 2962466"/>
                  <a:gd name="connsiteX0" fmla="*/ 55190 w 1453329"/>
                  <a:gd name="connsiteY0" fmla="*/ 582470 h 2962466"/>
                  <a:gd name="connsiteX1" fmla="*/ 1074116 w 1453329"/>
                  <a:gd name="connsiteY1" fmla="*/ 16754 h 2962466"/>
                  <a:gd name="connsiteX2" fmla="*/ 1435167 w 1453329"/>
                  <a:gd name="connsiteY2" fmla="*/ 412431 h 2962466"/>
                  <a:gd name="connsiteX3" fmla="*/ 1453106 w 1453329"/>
                  <a:gd name="connsiteY3" fmla="*/ 1701512 h 2962466"/>
                  <a:gd name="connsiteX4" fmla="*/ 631324 w 1453329"/>
                  <a:gd name="connsiteY4" fmla="*/ 1914162 h 2962466"/>
                  <a:gd name="connsiteX5" fmla="*/ 460241 w 1453329"/>
                  <a:gd name="connsiteY5" fmla="*/ 2962466 h 2962466"/>
                  <a:gd name="connsiteX6" fmla="*/ 0 w 1453329"/>
                  <a:gd name="connsiteY6" fmla="*/ 2544789 h 2962466"/>
                  <a:gd name="connsiteX7" fmla="*/ 55190 w 1453329"/>
                  <a:gd name="connsiteY7" fmla="*/ 582470 h 2962466"/>
                  <a:gd name="connsiteX0" fmla="*/ 55190 w 1453329"/>
                  <a:gd name="connsiteY0" fmla="*/ 582470 h 2962466"/>
                  <a:gd name="connsiteX1" fmla="*/ 1074116 w 1453329"/>
                  <a:gd name="connsiteY1" fmla="*/ 16754 h 2962466"/>
                  <a:gd name="connsiteX2" fmla="*/ 1435167 w 1453329"/>
                  <a:gd name="connsiteY2" fmla="*/ 412431 h 2962466"/>
                  <a:gd name="connsiteX3" fmla="*/ 1453106 w 1453329"/>
                  <a:gd name="connsiteY3" fmla="*/ 1701512 h 2962466"/>
                  <a:gd name="connsiteX4" fmla="*/ 631324 w 1453329"/>
                  <a:gd name="connsiteY4" fmla="*/ 1914162 h 2962466"/>
                  <a:gd name="connsiteX5" fmla="*/ 460241 w 1453329"/>
                  <a:gd name="connsiteY5" fmla="*/ 2962466 h 2962466"/>
                  <a:gd name="connsiteX6" fmla="*/ 0 w 1453329"/>
                  <a:gd name="connsiteY6" fmla="*/ 2544789 h 2962466"/>
                  <a:gd name="connsiteX7" fmla="*/ 55190 w 1453329"/>
                  <a:gd name="connsiteY7" fmla="*/ 582470 h 2962466"/>
                  <a:gd name="connsiteX0" fmla="*/ 55190 w 1967714"/>
                  <a:gd name="connsiteY0" fmla="*/ 582470 h 4142378"/>
                  <a:gd name="connsiteX1" fmla="*/ 1074116 w 1967714"/>
                  <a:gd name="connsiteY1" fmla="*/ 16754 h 4142378"/>
                  <a:gd name="connsiteX2" fmla="*/ 1435167 w 1967714"/>
                  <a:gd name="connsiteY2" fmla="*/ 412431 h 4142378"/>
                  <a:gd name="connsiteX3" fmla="*/ 1453106 w 1967714"/>
                  <a:gd name="connsiteY3" fmla="*/ 1701512 h 4142378"/>
                  <a:gd name="connsiteX4" fmla="*/ 631324 w 1967714"/>
                  <a:gd name="connsiteY4" fmla="*/ 1914162 h 4142378"/>
                  <a:gd name="connsiteX5" fmla="*/ 1967714 w 1967714"/>
                  <a:gd name="connsiteY5" fmla="*/ 4142378 h 4142378"/>
                  <a:gd name="connsiteX6" fmla="*/ 0 w 1967714"/>
                  <a:gd name="connsiteY6" fmla="*/ 2544789 h 4142378"/>
                  <a:gd name="connsiteX7" fmla="*/ 55190 w 1967714"/>
                  <a:gd name="connsiteY7" fmla="*/ 582470 h 4142378"/>
                  <a:gd name="connsiteX0" fmla="*/ 55190 w 1967714"/>
                  <a:gd name="connsiteY0" fmla="*/ 582470 h 4142378"/>
                  <a:gd name="connsiteX1" fmla="*/ 1074116 w 1967714"/>
                  <a:gd name="connsiteY1" fmla="*/ 16754 h 4142378"/>
                  <a:gd name="connsiteX2" fmla="*/ 1435167 w 1967714"/>
                  <a:gd name="connsiteY2" fmla="*/ 412431 h 4142378"/>
                  <a:gd name="connsiteX3" fmla="*/ 1453106 w 1967714"/>
                  <a:gd name="connsiteY3" fmla="*/ 1701512 h 4142378"/>
                  <a:gd name="connsiteX4" fmla="*/ 631324 w 1967714"/>
                  <a:gd name="connsiteY4" fmla="*/ 1914162 h 4142378"/>
                  <a:gd name="connsiteX5" fmla="*/ 1967714 w 1967714"/>
                  <a:gd name="connsiteY5" fmla="*/ 4142378 h 4142378"/>
                  <a:gd name="connsiteX6" fmla="*/ 0 w 1967714"/>
                  <a:gd name="connsiteY6" fmla="*/ 2544789 h 4142378"/>
                  <a:gd name="connsiteX7" fmla="*/ 55190 w 1967714"/>
                  <a:gd name="connsiteY7" fmla="*/ 582470 h 4142378"/>
                  <a:gd name="connsiteX0" fmla="*/ 55190 w 1967714"/>
                  <a:gd name="connsiteY0" fmla="*/ 582470 h 4142378"/>
                  <a:gd name="connsiteX1" fmla="*/ 1074116 w 1967714"/>
                  <a:gd name="connsiteY1" fmla="*/ 16754 h 4142378"/>
                  <a:gd name="connsiteX2" fmla="*/ 1435167 w 1967714"/>
                  <a:gd name="connsiteY2" fmla="*/ 412431 h 4142378"/>
                  <a:gd name="connsiteX3" fmla="*/ 1453106 w 1967714"/>
                  <a:gd name="connsiteY3" fmla="*/ 1701512 h 4142378"/>
                  <a:gd name="connsiteX4" fmla="*/ 631324 w 1967714"/>
                  <a:gd name="connsiteY4" fmla="*/ 1914162 h 4142378"/>
                  <a:gd name="connsiteX5" fmla="*/ 1967714 w 1967714"/>
                  <a:gd name="connsiteY5" fmla="*/ 4142378 h 4142378"/>
                  <a:gd name="connsiteX6" fmla="*/ 0 w 1967714"/>
                  <a:gd name="connsiteY6" fmla="*/ 2544789 h 4142378"/>
                  <a:gd name="connsiteX7" fmla="*/ 55190 w 1967714"/>
                  <a:gd name="connsiteY7" fmla="*/ 582470 h 4142378"/>
                  <a:gd name="connsiteX0" fmla="*/ 152244 w 2064768"/>
                  <a:gd name="connsiteY0" fmla="*/ 582470 h 4142378"/>
                  <a:gd name="connsiteX1" fmla="*/ 1171170 w 2064768"/>
                  <a:gd name="connsiteY1" fmla="*/ 16754 h 4142378"/>
                  <a:gd name="connsiteX2" fmla="*/ 1532221 w 2064768"/>
                  <a:gd name="connsiteY2" fmla="*/ 412431 h 4142378"/>
                  <a:gd name="connsiteX3" fmla="*/ 1550160 w 2064768"/>
                  <a:gd name="connsiteY3" fmla="*/ 1701512 h 4142378"/>
                  <a:gd name="connsiteX4" fmla="*/ 728378 w 2064768"/>
                  <a:gd name="connsiteY4" fmla="*/ 1914162 h 4142378"/>
                  <a:gd name="connsiteX5" fmla="*/ 2064768 w 2064768"/>
                  <a:gd name="connsiteY5" fmla="*/ 4142378 h 4142378"/>
                  <a:gd name="connsiteX6" fmla="*/ 97054 w 2064768"/>
                  <a:gd name="connsiteY6" fmla="*/ 2544789 h 4142378"/>
                  <a:gd name="connsiteX7" fmla="*/ 152244 w 2064768"/>
                  <a:gd name="connsiteY7" fmla="*/ 582470 h 4142378"/>
                  <a:gd name="connsiteX0" fmla="*/ 179677 w 2092201"/>
                  <a:gd name="connsiteY0" fmla="*/ 582470 h 4142378"/>
                  <a:gd name="connsiteX1" fmla="*/ 1198603 w 2092201"/>
                  <a:gd name="connsiteY1" fmla="*/ 16754 h 4142378"/>
                  <a:gd name="connsiteX2" fmla="*/ 1559654 w 2092201"/>
                  <a:gd name="connsiteY2" fmla="*/ 412431 h 4142378"/>
                  <a:gd name="connsiteX3" fmla="*/ 1577593 w 2092201"/>
                  <a:gd name="connsiteY3" fmla="*/ 1701512 h 4142378"/>
                  <a:gd name="connsiteX4" fmla="*/ 755811 w 2092201"/>
                  <a:gd name="connsiteY4" fmla="*/ 1914162 h 4142378"/>
                  <a:gd name="connsiteX5" fmla="*/ 2092201 w 2092201"/>
                  <a:gd name="connsiteY5" fmla="*/ 4142378 h 4142378"/>
                  <a:gd name="connsiteX6" fmla="*/ 124487 w 2092201"/>
                  <a:gd name="connsiteY6" fmla="*/ 2544789 h 4142378"/>
                  <a:gd name="connsiteX7" fmla="*/ 179677 w 2092201"/>
                  <a:gd name="connsiteY7" fmla="*/ 582470 h 4142378"/>
                  <a:gd name="connsiteX0" fmla="*/ 193048 w 2086275"/>
                  <a:gd name="connsiteY0" fmla="*/ 611328 h 4140939"/>
                  <a:gd name="connsiteX1" fmla="*/ 1192677 w 2086275"/>
                  <a:gd name="connsiteY1" fmla="*/ 15315 h 4140939"/>
                  <a:gd name="connsiteX2" fmla="*/ 1553728 w 2086275"/>
                  <a:gd name="connsiteY2" fmla="*/ 410992 h 4140939"/>
                  <a:gd name="connsiteX3" fmla="*/ 1571667 w 2086275"/>
                  <a:gd name="connsiteY3" fmla="*/ 1700073 h 4140939"/>
                  <a:gd name="connsiteX4" fmla="*/ 749885 w 2086275"/>
                  <a:gd name="connsiteY4" fmla="*/ 1912723 h 4140939"/>
                  <a:gd name="connsiteX5" fmla="*/ 2086275 w 2086275"/>
                  <a:gd name="connsiteY5" fmla="*/ 4140939 h 4140939"/>
                  <a:gd name="connsiteX6" fmla="*/ 118561 w 2086275"/>
                  <a:gd name="connsiteY6" fmla="*/ 2543350 h 4140939"/>
                  <a:gd name="connsiteX7" fmla="*/ 193048 w 2086275"/>
                  <a:gd name="connsiteY7" fmla="*/ 611328 h 4140939"/>
                  <a:gd name="connsiteX0" fmla="*/ 202730 w 2095957"/>
                  <a:gd name="connsiteY0" fmla="*/ 611328 h 4140939"/>
                  <a:gd name="connsiteX1" fmla="*/ 1202359 w 2095957"/>
                  <a:gd name="connsiteY1" fmla="*/ 15315 h 4140939"/>
                  <a:gd name="connsiteX2" fmla="*/ 1563410 w 2095957"/>
                  <a:gd name="connsiteY2" fmla="*/ 410992 h 4140939"/>
                  <a:gd name="connsiteX3" fmla="*/ 1581349 w 2095957"/>
                  <a:gd name="connsiteY3" fmla="*/ 1700073 h 4140939"/>
                  <a:gd name="connsiteX4" fmla="*/ 759567 w 2095957"/>
                  <a:gd name="connsiteY4" fmla="*/ 1912723 h 4140939"/>
                  <a:gd name="connsiteX5" fmla="*/ 2095957 w 2095957"/>
                  <a:gd name="connsiteY5" fmla="*/ 4140939 h 4140939"/>
                  <a:gd name="connsiteX6" fmla="*/ 128243 w 2095957"/>
                  <a:gd name="connsiteY6" fmla="*/ 2543350 h 4140939"/>
                  <a:gd name="connsiteX7" fmla="*/ 202730 w 2095957"/>
                  <a:gd name="connsiteY7" fmla="*/ 611328 h 4140939"/>
                  <a:gd name="connsiteX0" fmla="*/ 202730 w 2095957"/>
                  <a:gd name="connsiteY0" fmla="*/ 603447 h 4133058"/>
                  <a:gd name="connsiteX1" fmla="*/ 1239555 w 2095957"/>
                  <a:gd name="connsiteY1" fmla="*/ 15684 h 4133058"/>
                  <a:gd name="connsiteX2" fmla="*/ 1563410 w 2095957"/>
                  <a:gd name="connsiteY2" fmla="*/ 403111 h 4133058"/>
                  <a:gd name="connsiteX3" fmla="*/ 1581349 w 2095957"/>
                  <a:gd name="connsiteY3" fmla="*/ 1692192 h 4133058"/>
                  <a:gd name="connsiteX4" fmla="*/ 759567 w 2095957"/>
                  <a:gd name="connsiteY4" fmla="*/ 1904842 h 4133058"/>
                  <a:gd name="connsiteX5" fmla="*/ 2095957 w 2095957"/>
                  <a:gd name="connsiteY5" fmla="*/ 4133058 h 4133058"/>
                  <a:gd name="connsiteX6" fmla="*/ 128243 w 2095957"/>
                  <a:gd name="connsiteY6" fmla="*/ 2535469 h 4133058"/>
                  <a:gd name="connsiteX7" fmla="*/ 202730 w 2095957"/>
                  <a:gd name="connsiteY7" fmla="*/ 603447 h 4133058"/>
                  <a:gd name="connsiteX0" fmla="*/ 202730 w 2119410"/>
                  <a:gd name="connsiteY0" fmla="*/ 603447 h 4665374"/>
                  <a:gd name="connsiteX1" fmla="*/ 1239555 w 2119410"/>
                  <a:gd name="connsiteY1" fmla="*/ 15684 h 4665374"/>
                  <a:gd name="connsiteX2" fmla="*/ 1563410 w 2119410"/>
                  <a:gd name="connsiteY2" fmla="*/ 403111 h 4665374"/>
                  <a:gd name="connsiteX3" fmla="*/ 1581349 w 2119410"/>
                  <a:gd name="connsiteY3" fmla="*/ 1692192 h 4665374"/>
                  <a:gd name="connsiteX4" fmla="*/ 759567 w 2119410"/>
                  <a:gd name="connsiteY4" fmla="*/ 1904842 h 4665374"/>
                  <a:gd name="connsiteX5" fmla="*/ 2095957 w 2119410"/>
                  <a:gd name="connsiteY5" fmla="*/ 4133058 h 4665374"/>
                  <a:gd name="connsiteX6" fmla="*/ 1249426 w 2119410"/>
                  <a:gd name="connsiteY6" fmla="*/ 4575867 h 4665374"/>
                  <a:gd name="connsiteX7" fmla="*/ 128243 w 2119410"/>
                  <a:gd name="connsiteY7" fmla="*/ 2535469 h 4665374"/>
                  <a:gd name="connsiteX8" fmla="*/ 202730 w 2119410"/>
                  <a:gd name="connsiteY8" fmla="*/ 603447 h 4665374"/>
                  <a:gd name="connsiteX0" fmla="*/ 202730 w 2925040"/>
                  <a:gd name="connsiteY0" fmla="*/ 603447 h 4665374"/>
                  <a:gd name="connsiteX1" fmla="*/ 1239555 w 2925040"/>
                  <a:gd name="connsiteY1" fmla="*/ 15684 h 4665374"/>
                  <a:gd name="connsiteX2" fmla="*/ 1563410 w 2925040"/>
                  <a:gd name="connsiteY2" fmla="*/ 403111 h 4665374"/>
                  <a:gd name="connsiteX3" fmla="*/ 1581349 w 2925040"/>
                  <a:gd name="connsiteY3" fmla="*/ 1692192 h 4665374"/>
                  <a:gd name="connsiteX4" fmla="*/ 759567 w 2925040"/>
                  <a:gd name="connsiteY4" fmla="*/ 1904842 h 4665374"/>
                  <a:gd name="connsiteX5" fmla="*/ 2890886 w 2925040"/>
                  <a:gd name="connsiteY5" fmla="*/ 3274832 h 4665374"/>
                  <a:gd name="connsiteX6" fmla="*/ 2095957 w 2925040"/>
                  <a:gd name="connsiteY6" fmla="*/ 4133058 h 4665374"/>
                  <a:gd name="connsiteX7" fmla="*/ 1249426 w 2925040"/>
                  <a:gd name="connsiteY7" fmla="*/ 4575867 h 4665374"/>
                  <a:gd name="connsiteX8" fmla="*/ 128243 w 2925040"/>
                  <a:gd name="connsiteY8" fmla="*/ 2535469 h 4665374"/>
                  <a:gd name="connsiteX9" fmla="*/ 202730 w 2925040"/>
                  <a:gd name="connsiteY9" fmla="*/ 603447 h 4665374"/>
                  <a:gd name="connsiteX0" fmla="*/ 202730 w 3986982"/>
                  <a:gd name="connsiteY0" fmla="*/ 603447 h 4665374"/>
                  <a:gd name="connsiteX1" fmla="*/ 1239555 w 3986982"/>
                  <a:gd name="connsiteY1" fmla="*/ 15684 h 4665374"/>
                  <a:gd name="connsiteX2" fmla="*/ 1563410 w 3986982"/>
                  <a:gd name="connsiteY2" fmla="*/ 403111 h 4665374"/>
                  <a:gd name="connsiteX3" fmla="*/ 1581349 w 3986982"/>
                  <a:gd name="connsiteY3" fmla="*/ 1692192 h 4665374"/>
                  <a:gd name="connsiteX4" fmla="*/ 759567 w 3986982"/>
                  <a:gd name="connsiteY4" fmla="*/ 1904842 h 4665374"/>
                  <a:gd name="connsiteX5" fmla="*/ 2890886 w 3986982"/>
                  <a:gd name="connsiteY5" fmla="*/ 3274832 h 4665374"/>
                  <a:gd name="connsiteX6" fmla="*/ 3974102 w 3986982"/>
                  <a:gd name="connsiteY6" fmla="*/ 4490732 h 4665374"/>
                  <a:gd name="connsiteX7" fmla="*/ 2095957 w 3986982"/>
                  <a:gd name="connsiteY7" fmla="*/ 4133058 h 4665374"/>
                  <a:gd name="connsiteX8" fmla="*/ 1249426 w 3986982"/>
                  <a:gd name="connsiteY8" fmla="*/ 4575867 h 4665374"/>
                  <a:gd name="connsiteX9" fmla="*/ 128243 w 3986982"/>
                  <a:gd name="connsiteY9" fmla="*/ 2535469 h 4665374"/>
                  <a:gd name="connsiteX10" fmla="*/ 202730 w 3986982"/>
                  <a:gd name="connsiteY10" fmla="*/ 603447 h 4665374"/>
                  <a:gd name="connsiteX0" fmla="*/ 202730 w 3986982"/>
                  <a:gd name="connsiteY0" fmla="*/ 603447 h 4665374"/>
                  <a:gd name="connsiteX1" fmla="*/ 1239555 w 3986982"/>
                  <a:gd name="connsiteY1" fmla="*/ 15684 h 4665374"/>
                  <a:gd name="connsiteX2" fmla="*/ 1563410 w 3986982"/>
                  <a:gd name="connsiteY2" fmla="*/ 403111 h 4665374"/>
                  <a:gd name="connsiteX3" fmla="*/ 1581349 w 3986982"/>
                  <a:gd name="connsiteY3" fmla="*/ 1692192 h 4665374"/>
                  <a:gd name="connsiteX4" fmla="*/ 759567 w 3986982"/>
                  <a:gd name="connsiteY4" fmla="*/ 1904842 h 4665374"/>
                  <a:gd name="connsiteX5" fmla="*/ 2890886 w 3986982"/>
                  <a:gd name="connsiteY5" fmla="*/ 3274832 h 4665374"/>
                  <a:gd name="connsiteX6" fmla="*/ 3974102 w 3986982"/>
                  <a:gd name="connsiteY6" fmla="*/ 4490732 h 4665374"/>
                  <a:gd name="connsiteX7" fmla="*/ 2095957 w 3986982"/>
                  <a:gd name="connsiteY7" fmla="*/ 4133058 h 4665374"/>
                  <a:gd name="connsiteX8" fmla="*/ 1249426 w 3986982"/>
                  <a:gd name="connsiteY8" fmla="*/ 4575867 h 4665374"/>
                  <a:gd name="connsiteX9" fmla="*/ 128243 w 3986982"/>
                  <a:gd name="connsiteY9" fmla="*/ 2535469 h 4665374"/>
                  <a:gd name="connsiteX10" fmla="*/ 202730 w 3986982"/>
                  <a:gd name="connsiteY10" fmla="*/ 603447 h 4665374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890886 w 3986982"/>
                  <a:gd name="connsiteY5" fmla="*/ 3274832 h 5231056"/>
                  <a:gd name="connsiteX6" fmla="*/ 3974102 w 3986982"/>
                  <a:gd name="connsiteY6" fmla="*/ 4490732 h 5231056"/>
                  <a:gd name="connsiteX7" fmla="*/ 3225922 w 3986982"/>
                  <a:gd name="connsiteY7" fmla="*/ 5138180 h 5231056"/>
                  <a:gd name="connsiteX8" fmla="*/ 1249426 w 3986982"/>
                  <a:gd name="connsiteY8" fmla="*/ 4575867 h 5231056"/>
                  <a:gd name="connsiteX9" fmla="*/ 128243 w 3986982"/>
                  <a:gd name="connsiteY9" fmla="*/ 2535469 h 5231056"/>
                  <a:gd name="connsiteX10" fmla="*/ 202730 w 3986982"/>
                  <a:gd name="connsiteY10" fmla="*/ 603447 h 5231056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115696 w 3986982"/>
                  <a:gd name="connsiteY5" fmla="*/ 4130579 h 5231056"/>
                  <a:gd name="connsiteX6" fmla="*/ 2890886 w 3986982"/>
                  <a:gd name="connsiteY6" fmla="*/ 3274832 h 5231056"/>
                  <a:gd name="connsiteX7" fmla="*/ 3974102 w 3986982"/>
                  <a:gd name="connsiteY7" fmla="*/ 4490732 h 5231056"/>
                  <a:gd name="connsiteX8" fmla="*/ 3225922 w 3986982"/>
                  <a:gd name="connsiteY8" fmla="*/ 5138180 h 5231056"/>
                  <a:gd name="connsiteX9" fmla="*/ 1249426 w 3986982"/>
                  <a:gd name="connsiteY9" fmla="*/ 4575867 h 5231056"/>
                  <a:gd name="connsiteX10" fmla="*/ 128243 w 3986982"/>
                  <a:gd name="connsiteY10" fmla="*/ 2535469 h 5231056"/>
                  <a:gd name="connsiteX11" fmla="*/ 202730 w 3986982"/>
                  <a:gd name="connsiteY11" fmla="*/ 603447 h 5231056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115696 w 3986982"/>
                  <a:gd name="connsiteY5" fmla="*/ 4130579 h 5231056"/>
                  <a:gd name="connsiteX6" fmla="*/ 2890886 w 3986982"/>
                  <a:gd name="connsiteY6" fmla="*/ 3274832 h 5231056"/>
                  <a:gd name="connsiteX7" fmla="*/ 3974102 w 3986982"/>
                  <a:gd name="connsiteY7" fmla="*/ 4490732 h 5231056"/>
                  <a:gd name="connsiteX8" fmla="*/ 3225922 w 3986982"/>
                  <a:gd name="connsiteY8" fmla="*/ 5138180 h 5231056"/>
                  <a:gd name="connsiteX9" fmla="*/ 1249426 w 3986982"/>
                  <a:gd name="connsiteY9" fmla="*/ 4575867 h 5231056"/>
                  <a:gd name="connsiteX10" fmla="*/ 128243 w 3986982"/>
                  <a:gd name="connsiteY10" fmla="*/ 2535469 h 5231056"/>
                  <a:gd name="connsiteX11" fmla="*/ 202730 w 3986982"/>
                  <a:gd name="connsiteY11" fmla="*/ 603447 h 5231056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115696 w 3986982"/>
                  <a:gd name="connsiteY5" fmla="*/ 4130579 h 5231056"/>
                  <a:gd name="connsiteX6" fmla="*/ 2890886 w 3986982"/>
                  <a:gd name="connsiteY6" fmla="*/ 3274832 h 5231056"/>
                  <a:gd name="connsiteX7" fmla="*/ 3974102 w 3986982"/>
                  <a:gd name="connsiteY7" fmla="*/ 4490732 h 5231056"/>
                  <a:gd name="connsiteX8" fmla="*/ 3225922 w 3986982"/>
                  <a:gd name="connsiteY8" fmla="*/ 5138180 h 5231056"/>
                  <a:gd name="connsiteX9" fmla="*/ 1249426 w 3986982"/>
                  <a:gd name="connsiteY9" fmla="*/ 4575867 h 5231056"/>
                  <a:gd name="connsiteX10" fmla="*/ 128243 w 3986982"/>
                  <a:gd name="connsiteY10" fmla="*/ 2535469 h 5231056"/>
                  <a:gd name="connsiteX11" fmla="*/ 202730 w 3986982"/>
                  <a:gd name="connsiteY11" fmla="*/ 603447 h 5231056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115696 w 3986982"/>
                  <a:gd name="connsiteY5" fmla="*/ 4130579 h 5231056"/>
                  <a:gd name="connsiteX6" fmla="*/ 2890886 w 3986982"/>
                  <a:gd name="connsiteY6" fmla="*/ 3274832 h 5231056"/>
                  <a:gd name="connsiteX7" fmla="*/ 3974102 w 3986982"/>
                  <a:gd name="connsiteY7" fmla="*/ 4490732 h 5231056"/>
                  <a:gd name="connsiteX8" fmla="*/ 3225922 w 3986982"/>
                  <a:gd name="connsiteY8" fmla="*/ 5138180 h 5231056"/>
                  <a:gd name="connsiteX9" fmla="*/ 1249426 w 3986982"/>
                  <a:gd name="connsiteY9" fmla="*/ 4575867 h 5231056"/>
                  <a:gd name="connsiteX10" fmla="*/ 128243 w 3986982"/>
                  <a:gd name="connsiteY10" fmla="*/ 2535469 h 5231056"/>
                  <a:gd name="connsiteX11" fmla="*/ 202730 w 3986982"/>
                  <a:gd name="connsiteY11" fmla="*/ 603447 h 5231056"/>
                  <a:gd name="connsiteX0" fmla="*/ 202730 w 3986982"/>
                  <a:gd name="connsiteY0" fmla="*/ 603447 h 5231056"/>
                  <a:gd name="connsiteX1" fmla="*/ 1239555 w 3986982"/>
                  <a:gd name="connsiteY1" fmla="*/ 15684 h 5231056"/>
                  <a:gd name="connsiteX2" fmla="*/ 1563410 w 3986982"/>
                  <a:gd name="connsiteY2" fmla="*/ 403111 h 5231056"/>
                  <a:gd name="connsiteX3" fmla="*/ 1581349 w 3986982"/>
                  <a:gd name="connsiteY3" fmla="*/ 1692192 h 5231056"/>
                  <a:gd name="connsiteX4" fmla="*/ 759567 w 3986982"/>
                  <a:gd name="connsiteY4" fmla="*/ 1904842 h 5231056"/>
                  <a:gd name="connsiteX5" fmla="*/ 2115696 w 3986982"/>
                  <a:gd name="connsiteY5" fmla="*/ 4130579 h 5231056"/>
                  <a:gd name="connsiteX6" fmla="*/ 2890886 w 3986982"/>
                  <a:gd name="connsiteY6" fmla="*/ 3274832 h 5231056"/>
                  <a:gd name="connsiteX7" fmla="*/ 3974102 w 3986982"/>
                  <a:gd name="connsiteY7" fmla="*/ 4490732 h 5231056"/>
                  <a:gd name="connsiteX8" fmla="*/ 3225922 w 3986982"/>
                  <a:gd name="connsiteY8" fmla="*/ 5138180 h 5231056"/>
                  <a:gd name="connsiteX9" fmla="*/ 1249426 w 3986982"/>
                  <a:gd name="connsiteY9" fmla="*/ 4575867 h 5231056"/>
                  <a:gd name="connsiteX10" fmla="*/ 128243 w 3986982"/>
                  <a:gd name="connsiteY10" fmla="*/ 2535469 h 5231056"/>
                  <a:gd name="connsiteX11" fmla="*/ 202730 w 3986982"/>
                  <a:gd name="connsiteY11" fmla="*/ 603447 h 5231056"/>
                  <a:gd name="connsiteX0" fmla="*/ 202730 w 3987543"/>
                  <a:gd name="connsiteY0" fmla="*/ 603447 h 5231056"/>
                  <a:gd name="connsiteX1" fmla="*/ 1239555 w 3987543"/>
                  <a:gd name="connsiteY1" fmla="*/ 15684 h 5231056"/>
                  <a:gd name="connsiteX2" fmla="*/ 1563410 w 3987543"/>
                  <a:gd name="connsiteY2" fmla="*/ 403111 h 5231056"/>
                  <a:gd name="connsiteX3" fmla="*/ 1581349 w 3987543"/>
                  <a:gd name="connsiteY3" fmla="*/ 1692192 h 5231056"/>
                  <a:gd name="connsiteX4" fmla="*/ 759567 w 3987543"/>
                  <a:gd name="connsiteY4" fmla="*/ 1904842 h 5231056"/>
                  <a:gd name="connsiteX5" fmla="*/ 2115696 w 3987543"/>
                  <a:gd name="connsiteY5" fmla="*/ 4130579 h 5231056"/>
                  <a:gd name="connsiteX6" fmla="*/ 2890886 w 3987543"/>
                  <a:gd name="connsiteY6" fmla="*/ 3274832 h 5231056"/>
                  <a:gd name="connsiteX7" fmla="*/ 3974102 w 3987543"/>
                  <a:gd name="connsiteY7" fmla="*/ 4490732 h 5231056"/>
                  <a:gd name="connsiteX8" fmla="*/ 3225922 w 3987543"/>
                  <a:gd name="connsiteY8" fmla="*/ 5138180 h 5231056"/>
                  <a:gd name="connsiteX9" fmla="*/ 1249426 w 3987543"/>
                  <a:gd name="connsiteY9" fmla="*/ 4575867 h 5231056"/>
                  <a:gd name="connsiteX10" fmla="*/ 128243 w 3987543"/>
                  <a:gd name="connsiteY10" fmla="*/ 2535469 h 5231056"/>
                  <a:gd name="connsiteX11" fmla="*/ 202730 w 3987543"/>
                  <a:gd name="connsiteY11" fmla="*/ 603447 h 5231056"/>
                  <a:gd name="connsiteX0" fmla="*/ 202730 w 3985854"/>
                  <a:gd name="connsiteY0" fmla="*/ 603447 h 5231056"/>
                  <a:gd name="connsiteX1" fmla="*/ 1239555 w 3985854"/>
                  <a:gd name="connsiteY1" fmla="*/ 15684 h 5231056"/>
                  <a:gd name="connsiteX2" fmla="*/ 1563410 w 3985854"/>
                  <a:gd name="connsiteY2" fmla="*/ 403111 h 5231056"/>
                  <a:gd name="connsiteX3" fmla="*/ 1581349 w 3985854"/>
                  <a:gd name="connsiteY3" fmla="*/ 1692192 h 5231056"/>
                  <a:gd name="connsiteX4" fmla="*/ 759567 w 3985854"/>
                  <a:gd name="connsiteY4" fmla="*/ 1904842 h 5231056"/>
                  <a:gd name="connsiteX5" fmla="*/ 2115696 w 3985854"/>
                  <a:gd name="connsiteY5" fmla="*/ 4130579 h 5231056"/>
                  <a:gd name="connsiteX6" fmla="*/ 2749001 w 3985854"/>
                  <a:gd name="connsiteY6" fmla="*/ 3269380 h 5231056"/>
                  <a:gd name="connsiteX7" fmla="*/ 3974102 w 3985854"/>
                  <a:gd name="connsiteY7" fmla="*/ 4490732 h 5231056"/>
                  <a:gd name="connsiteX8" fmla="*/ 3225922 w 3985854"/>
                  <a:gd name="connsiteY8" fmla="*/ 5138180 h 5231056"/>
                  <a:gd name="connsiteX9" fmla="*/ 1249426 w 3985854"/>
                  <a:gd name="connsiteY9" fmla="*/ 4575867 h 5231056"/>
                  <a:gd name="connsiteX10" fmla="*/ 128243 w 3985854"/>
                  <a:gd name="connsiteY10" fmla="*/ 2535469 h 5231056"/>
                  <a:gd name="connsiteX11" fmla="*/ 202730 w 3985854"/>
                  <a:gd name="connsiteY11" fmla="*/ 603447 h 5231056"/>
                  <a:gd name="connsiteX0" fmla="*/ 202730 w 3985588"/>
                  <a:gd name="connsiteY0" fmla="*/ 603447 h 5231056"/>
                  <a:gd name="connsiteX1" fmla="*/ 1239555 w 3985588"/>
                  <a:gd name="connsiteY1" fmla="*/ 15684 h 5231056"/>
                  <a:gd name="connsiteX2" fmla="*/ 1563410 w 3985588"/>
                  <a:gd name="connsiteY2" fmla="*/ 403111 h 5231056"/>
                  <a:gd name="connsiteX3" fmla="*/ 1581349 w 3985588"/>
                  <a:gd name="connsiteY3" fmla="*/ 1692192 h 5231056"/>
                  <a:gd name="connsiteX4" fmla="*/ 759567 w 3985588"/>
                  <a:gd name="connsiteY4" fmla="*/ 1904842 h 5231056"/>
                  <a:gd name="connsiteX5" fmla="*/ 2115696 w 3985588"/>
                  <a:gd name="connsiteY5" fmla="*/ 4130579 h 5231056"/>
                  <a:gd name="connsiteX6" fmla="*/ 2722852 w 3985588"/>
                  <a:gd name="connsiteY6" fmla="*/ 3328623 h 5231056"/>
                  <a:gd name="connsiteX7" fmla="*/ 3974102 w 3985588"/>
                  <a:gd name="connsiteY7" fmla="*/ 4490732 h 5231056"/>
                  <a:gd name="connsiteX8" fmla="*/ 3225922 w 3985588"/>
                  <a:gd name="connsiteY8" fmla="*/ 5138180 h 5231056"/>
                  <a:gd name="connsiteX9" fmla="*/ 1249426 w 3985588"/>
                  <a:gd name="connsiteY9" fmla="*/ 4575867 h 5231056"/>
                  <a:gd name="connsiteX10" fmla="*/ 128243 w 3985588"/>
                  <a:gd name="connsiteY10" fmla="*/ 2535469 h 5231056"/>
                  <a:gd name="connsiteX11" fmla="*/ 202730 w 3985588"/>
                  <a:gd name="connsiteY11" fmla="*/ 603447 h 5231056"/>
                  <a:gd name="connsiteX0" fmla="*/ 202730 w 3985185"/>
                  <a:gd name="connsiteY0" fmla="*/ 603447 h 5231056"/>
                  <a:gd name="connsiteX1" fmla="*/ 1239555 w 3985185"/>
                  <a:gd name="connsiteY1" fmla="*/ 15684 h 5231056"/>
                  <a:gd name="connsiteX2" fmla="*/ 1563410 w 3985185"/>
                  <a:gd name="connsiteY2" fmla="*/ 403111 h 5231056"/>
                  <a:gd name="connsiteX3" fmla="*/ 1581349 w 3985185"/>
                  <a:gd name="connsiteY3" fmla="*/ 1692192 h 5231056"/>
                  <a:gd name="connsiteX4" fmla="*/ 759567 w 3985185"/>
                  <a:gd name="connsiteY4" fmla="*/ 1904842 h 5231056"/>
                  <a:gd name="connsiteX5" fmla="*/ 2115696 w 3985185"/>
                  <a:gd name="connsiteY5" fmla="*/ 4130579 h 5231056"/>
                  <a:gd name="connsiteX6" fmla="*/ 2722852 w 3985185"/>
                  <a:gd name="connsiteY6" fmla="*/ 3328623 h 5231056"/>
                  <a:gd name="connsiteX7" fmla="*/ 3974102 w 3985185"/>
                  <a:gd name="connsiteY7" fmla="*/ 4490732 h 5231056"/>
                  <a:gd name="connsiteX8" fmla="*/ 3225922 w 3985185"/>
                  <a:gd name="connsiteY8" fmla="*/ 5138180 h 5231056"/>
                  <a:gd name="connsiteX9" fmla="*/ 1249426 w 3985185"/>
                  <a:gd name="connsiteY9" fmla="*/ 4575867 h 5231056"/>
                  <a:gd name="connsiteX10" fmla="*/ 128243 w 3985185"/>
                  <a:gd name="connsiteY10" fmla="*/ 2535469 h 5231056"/>
                  <a:gd name="connsiteX11" fmla="*/ 202730 w 3985185"/>
                  <a:gd name="connsiteY11" fmla="*/ 603447 h 5231056"/>
                  <a:gd name="connsiteX0" fmla="*/ 202730 w 3985380"/>
                  <a:gd name="connsiteY0" fmla="*/ 603447 h 5231056"/>
                  <a:gd name="connsiteX1" fmla="*/ 1239555 w 3985380"/>
                  <a:gd name="connsiteY1" fmla="*/ 15684 h 5231056"/>
                  <a:gd name="connsiteX2" fmla="*/ 1563410 w 3985380"/>
                  <a:gd name="connsiteY2" fmla="*/ 403111 h 5231056"/>
                  <a:gd name="connsiteX3" fmla="*/ 1581349 w 3985380"/>
                  <a:gd name="connsiteY3" fmla="*/ 1692192 h 5231056"/>
                  <a:gd name="connsiteX4" fmla="*/ 759567 w 3985380"/>
                  <a:gd name="connsiteY4" fmla="*/ 1904842 h 5231056"/>
                  <a:gd name="connsiteX5" fmla="*/ 2115696 w 3985380"/>
                  <a:gd name="connsiteY5" fmla="*/ 4130579 h 5231056"/>
                  <a:gd name="connsiteX6" fmla="*/ 2743501 w 3985380"/>
                  <a:gd name="connsiteY6" fmla="*/ 3294177 h 5231056"/>
                  <a:gd name="connsiteX7" fmla="*/ 3974102 w 3985380"/>
                  <a:gd name="connsiteY7" fmla="*/ 4490732 h 5231056"/>
                  <a:gd name="connsiteX8" fmla="*/ 3225922 w 3985380"/>
                  <a:gd name="connsiteY8" fmla="*/ 5138180 h 5231056"/>
                  <a:gd name="connsiteX9" fmla="*/ 1249426 w 3985380"/>
                  <a:gd name="connsiteY9" fmla="*/ 4575867 h 5231056"/>
                  <a:gd name="connsiteX10" fmla="*/ 128243 w 3985380"/>
                  <a:gd name="connsiteY10" fmla="*/ 2535469 h 5231056"/>
                  <a:gd name="connsiteX11" fmla="*/ 202730 w 3985380"/>
                  <a:gd name="connsiteY11" fmla="*/ 603447 h 5231056"/>
                  <a:gd name="connsiteX0" fmla="*/ 202730 w 3985380"/>
                  <a:gd name="connsiteY0" fmla="*/ 603447 h 5231056"/>
                  <a:gd name="connsiteX1" fmla="*/ 1239555 w 3985380"/>
                  <a:gd name="connsiteY1" fmla="*/ 15684 h 5231056"/>
                  <a:gd name="connsiteX2" fmla="*/ 1563410 w 3985380"/>
                  <a:gd name="connsiteY2" fmla="*/ 403111 h 5231056"/>
                  <a:gd name="connsiteX3" fmla="*/ 1581349 w 3985380"/>
                  <a:gd name="connsiteY3" fmla="*/ 1692192 h 5231056"/>
                  <a:gd name="connsiteX4" fmla="*/ 759567 w 3985380"/>
                  <a:gd name="connsiteY4" fmla="*/ 1904842 h 5231056"/>
                  <a:gd name="connsiteX5" fmla="*/ 2115696 w 3985380"/>
                  <a:gd name="connsiteY5" fmla="*/ 4130579 h 5231056"/>
                  <a:gd name="connsiteX6" fmla="*/ 2743501 w 3985380"/>
                  <a:gd name="connsiteY6" fmla="*/ 3294177 h 5231056"/>
                  <a:gd name="connsiteX7" fmla="*/ 3974102 w 3985380"/>
                  <a:gd name="connsiteY7" fmla="*/ 4490732 h 5231056"/>
                  <a:gd name="connsiteX8" fmla="*/ 3225922 w 3985380"/>
                  <a:gd name="connsiteY8" fmla="*/ 5138180 h 5231056"/>
                  <a:gd name="connsiteX9" fmla="*/ 1249426 w 3985380"/>
                  <a:gd name="connsiteY9" fmla="*/ 4575867 h 5231056"/>
                  <a:gd name="connsiteX10" fmla="*/ 128243 w 3985380"/>
                  <a:gd name="connsiteY10" fmla="*/ 2535469 h 5231056"/>
                  <a:gd name="connsiteX11" fmla="*/ 202730 w 3985380"/>
                  <a:gd name="connsiteY11" fmla="*/ 603447 h 5231056"/>
                  <a:gd name="connsiteX0" fmla="*/ 202730 w 3985727"/>
                  <a:gd name="connsiteY0" fmla="*/ 603447 h 5231056"/>
                  <a:gd name="connsiteX1" fmla="*/ 1239555 w 3985727"/>
                  <a:gd name="connsiteY1" fmla="*/ 15684 h 5231056"/>
                  <a:gd name="connsiteX2" fmla="*/ 1563410 w 3985727"/>
                  <a:gd name="connsiteY2" fmla="*/ 403111 h 5231056"/>
                  <a:gd name="connsiteX3" fmla="*/ 1581349 w 3985727"/>
                  <a:gd name="connsiteY3" fmla="*/ 1692192 h 5231056"/>
                  <a:gd name="connsiteX4" fmla="*/ 759567 w 3985727"/>
                  <a:gd name="connsiteY4" fmla="*/ 1904842 h 5231056"/>
                  <a:gd name="connsiteX5" fmla="*/ 2115696 w 3985727"/>
                  <a:gd name="connsiteY5" fmla="*/ 4130579 h 5231056"/>
                  <a:gd name="connsiteX6" fmla="*/ 2743501 w 3985727"/>
                  <a:gd name="connsiteY6" fmla="*/ 3294177 h 5231056"/>
                  <a:gd name="connsiteX7" fmla="*/ 3974102 w 3985727"/>
                  <a:gd name="connsiteY7" fmla="*/ 4490732 h 5231056"/>
                  <a:gd name="connsiteX8" fmla="*/ 3225922 w 3985727"/>
                  <a:gd name="connsiteY8" fmla="*/ 5138180 h 5231056"/>
                  <a:gd name="connsiteX9" fmla="*/ 1249426 w 3985727"/>
                  <a:gd name="connsiteY9" fmla="*/ 4575867 h 5231056"/>
                  <a:gd name="connsiteX10" fmla="*/ 128243 w 3985727"/>
                  <a:gd name="connsiteY10" fmla="*/ 2535469 h 5231056"/>
                  <a:gd name="connsiteX11" fmla="*/ 202730 w 3985727"/>
                  <a:gd name="connsiteY11" fmla="*/ 603447 h 5231056"/>
                  <a:gd name="connsiteX0" fmla="*/ 202730 w 3985727"/>
                  <a:gd name="connsiteY0" fmla="*/ 603447 h 5231056"/>
                  <a:gd name="connsiteX1" fmla="*/ 1239555 w 3985727"/>
                  <a:gd name="connsiteY1" fmla="*/ 15684 h 5231056"/>
                  <a:gd name="connsiteX2" fmla="*/ 1563410 w 3985727"/>
                  <a:gd name="connsiteY2" fmla="*/ 403111 h 5231056"/>
                  <a:gd name="connsiteX3" fmla="*/ 1581349 w 3985727"/>
                  <a:gd name="connsiteY3" fmla="*/ 1692192 h 5231056"/>
                  <a:gd name="connsiteX4" fmla="*/ 759567 w 3985727"/>
                  <a:gd name="connsiteY4" fmla="*/ 1904842 h 5231056"/>
                  <a:gd name="connsiteX5" fmla="*/ 2115696 w 3985727"/>
                  <a:gd name="connsiteY5" fmla="*/ 4130579 h 5231056"/>
                  <a:gd name="connsiteX6" fmla="*/ 2743501 w 3985727"/>
                  <a:gd name="connsiteY6" fmla="*/ 3294177 h 5231056"/>
                  <a:gd name="connsiteX7" fmla="*/ 3974102 w 3985727"/>
                  <a:gd name="connsiteY7" fmla="*/ 4490732 h 5231056"/>
                  <a:gd name="connsiteX8" fmla="*/ 3225922 w 3985727"/>
                  <a:gd name="connsiteY8" fmla="*/ 5138180 h 5231056"/>
                  <a:gd name="connsiteX9" fmla="*/ 1249426 w 3985727"/>
                  <a:gd name="connsiteY9" fmla="*/ 4575867 h 5231056"/>
                  <a:gd name="connsiteX10" fmla="*/ 128243 w 3985727"/>
                  <a:gd name="connsiteY10" fmla="*/ 2535469 h 5231056"/>
                  <a:gd name="connsiteX11" fmla="*/ 202730 w 3985727"/>
                  <a:gd name="connsiteY11" fmla="*/ 603447 h 5231056"/>
                  <a:gd name="connsiteX0" fmla="*/ 202730 w 3985727"/>
                  <a:gd name="connsiteY0" fmla="*/ 603447 h 5231056"/>
                  <a:gd name="connsiteX1" fmla="*/ 1239555 w 3985727"/>
                  <a:gd name="connsiteY1" fmla="*/ 15684 h 5231056"/>
                  <a:gd name="connsiteX2" fmla="*/ 1563410 w 3985727"/>
                  <a:gd name="connsiteY2" fmla="*/ 403111 h 5231056"/>
                  <a:gd name="connsiteX3" fmla="*/ 1581349 w 3985727"/>
                  <a:gd name="connsiteY3" fmla="*/ 1692192 h 5231056"/>
                  <a:gd name="connsiteX4" fmla="*/ 759567 w 3985727"/>
                  <a:gd name="connsiteY4" fmla="*/ 1904842 h 5231056"/>
                  <a:gd name="connsiteX5" fmla="*/ 2115696 w 3985727"/>
                  <a:gd name="connsiteY5" fmla="*/ 4130579 h 5231056"/>
                  <a:gd name="connsiteX6" fmla="*/ 2743501 w 3985727"/>
                  <a:gd name="connsiteY6" fmla="*/ 3294177 h 5231056"/>
                  <a:gd name="connsiteX7" fmla="*/ 3974102 w 3985727"/>
                  <a:gd name="connsiteY7" fmla="*/ 4490732 h 5231056"/>
                  <a:gd name="connsiteX8" fmla="*/ 3225922 w 3985727"/>
                  <a:gd name="connsiteY8" fmla="*/ 5138180 h 5231056"/>
                  <a:gd name="connsiteX9" fmla="*/ 1249426 w 3985727"/>
                  <a:gd name="connsiteY9" fmla="*/ 4575867 h 5231056"/>
                  <a:gd name="connsiteX10" fmla="*/ 128243 w 3985727"/>
                  <a:gd name="connsiteY10" fmla="*/ 2535469 h 5231056"/>
                  <a:gd name="connsiteX11" fmla="*/ 202730 w 3985727"/>
                  <a:gd name="connsiteY11" fmla="*/ 603447 h 5231056"/>
                  <a:gd name="connsiteX0" fmla="*/ 202730 w 3985727"/>
                  <a:gd name="connsiteY0" fmla="*/ 603447 h 5138344"/>
                  <a:gd name="connsiteX1" fmla="*/ 1239555 w 3985727"/>
                  <a:gd name="connsiteY1" fmla="*/ 15684 h 5138344"/>
                  <a:gd name="connsiteX2" fmla="*/ 1563410 w 3985727"/>
                  <a:gd name="connsiteY2" fmla="*/ 403111 h 5138344"/>
                  <a:gd name="connsiteX3" fmla="*/ 1581349 w 3985727"/>
                  <a:gd name="connsiteY3" fmla="*/ 1692192 h 5138344"/>
                  <a:gd name="connsiteX4" fmla="*/ 759567 w 3985727"/>
                  <a:gd name="connsiteY4" fmla="*/ 1904842 h 5138344"/>
                  <a:gd name="connsiteX5" fmla="*/ 2115696 w 3985727"/>
                  <a:gd name="connsiteY5" fmla="*/ 4130579 h 5138344"/>
                  <a:gd name="connsiteX6" fmla="*/ 2743501 w 3985727"/>
                  <a:gd name="connsiteY6" fmla="*/ 3294177 h 5138344"/>
                  <a:gd name="connsiteX7" fmla="*/ 3974102 w 3985727"/>
                  <a:gd name="connsiteY7" fmla="*/ 4490732 h 5138344"/>
                  <a:gd name="connsiteX8" fmla="*/ 3225922 w 3985727"/>
                  <a:gd name="connsiteY8" fmla="*/ 5138180 h 5138344"/>
                  <a:gd name="connsiteX9" fmla="*/ 1249426 w 3985727"/>
                  <a:gd name="connsiteY9" fmla="*/ 4575867 h 5138344"/>
                  <a:gd name="connsiteX10" fmla="*/ 128243 w 3985727"/>
                  <a:gd name="connsiteY10" fmla="*/ 2535469 h 5138344"/>
                  <a:gd name="connsiteX11" fmla="*/ 202730 w 3985727"/>
                  <a:gd name="connsiteY11" fmla="*/ 603447 h 5138344"/>
                  <a:gd name="connsiteX0" fmla="*/ 202730 w 3985727"/>
                  <a:gd name="connsiteY0" fmla="*/ 603447 h 5138322"/>
                  <a:gd name="connsiteX1" fmla="*/ 1239555 w 3985727"/>
                  <a:gd name="connsiteY1" fmla="*/ 15684 h 5138322"/>
                  <a:gd name="connsiteX2" fmla="*/ 1563410 w 3985727"/>
                  <a:gd name="connsiteY2" fmla="*/ 403111 h 5138322"/>
                  <a:gd name="connsiteX3" fmla="*/ 1581349 w 3985727"/>
                  <a:gd name="connsiteY3" fmla="*/ 1692192 h 5138322"/>
                  <a:gd name="connsiteX4" fmla="*/ 759567 w 3985727"/>
                  <a:gd name="connsiteY4" fmla="*/ 1904842 h 5138322"/>
                  <a:gd name="connsiteX5" fmla="*/ 2115696 w 3985727"/>
                  <a:gd name="connsiteY5" fmla="*/ 4130579 h 5138322"/>
                  <a:gd name="connsiteX6" fmla="*/ 2743501 w 3985727"/>
                  <a:gd name="connsiteY6" fmla="*/ 3294177 h 5138322"/>
                  <a:gd name="connsiteX7" fmla="*/ 3974102 w 3985727"/>
                  <a:gd name="connsiteY7" fmla="*/ 4490732 h 5138322"/>
                  <a:gd name="connsiteX8" fmla="*/ 3225922 w 3985727"/>
                  <a:gd name="connsiteY8" fmla="*/ 5138180 h 5138322"/>
                  <a:gd name="connsiteX9" fmla="*/ 1260425 w 3985727"/>
                  <a:gd name="connsiteY9" fmla="*/ 4526272 h 5138322"/>
                  <a:gd name="connsiteX10" fmla="*/ 128243 w 3985727"/>
                  <a:gd name="connsiteY10" fmla="*/ 2535469 h 5138322"/>
                  <a:gd name="connsiteX11" fmla="*/ 202730 w 3985727"/>
                  <a:gd name="connsiteY11" fmla="*/ 603447 h 5138322"/>
                  <a:gd name="connsiteX0" fmla="*/ 202730 w 3985727"/>
                  <a:gd name="connsiteY0" fmla="*/ 603447 h 5138387"/>
                  <a:gd name="connsiteX1" fmla="*/ 1239555 w 3985727"/>
                  <a:gd name="connsiteY1" fmla="*/ 15684 h 5138387"/>
                  <a:gd name="connsiteX2" fmla="*/ 1563410 w 3985727"/>
                  <a:gd name="connsiteY2" fmla="*/ 403111 h 5138387"/>
                  <a:gd name="connsiteX3" fmla="*/ 1581349 w 3985727"/>
                  <a:gd name="connsiteY3" fmla="*/ 1692192 h 5138387"/>
                  <a:gd name="connsiteX4" fmla="*/ 759567 w 3985727"/>
                  <a:gd name="connsiteY4" fmla="*/ 1904842 h 5138387"/>
                  <a:gd name="connsiteX5" fmla="*/ 2115696 w 3985727"/>
                  <a:gd name="connsiteY5" fmla="*/ 4130579 h 5138387"/>
                  <a:gd name="connsiteX6" fmla="*/ 2743501 w 3985727"/>
                  <a:gd name="connsiteY6" fmla="*/ 3294177 h 5138387"/>
                  <a:gd name="connsiteX7" fmla="*/ 3974102 w 3985727"/>
                  <a:gd name="connsiteY7" fmla="*/ 4490732 h 5138387"/>
                  <a:gd name="connsiteX8" fmla="*/ 3225922 w 3985727"/>
                  <a:gd name="connsiteY8" fmla="*/ 5138180 h 5138387"/>
                  <a:gd name="connsiteX9" fmla="*/ 1260425 w 3985727"/>
                  <a:gd name="connsiteY9" fmla="*/ 4526272 h 5138387"/>
                  <a:gd name="connsiteX10" fmla="*/ 128243 w 3985727"/>
                  <a:gd name="connsiteY10" fmla="*/ 2535469 h 5138387"/>
                  <a:gd name="connsiteX11" fmla="*/ 202730 w 3985727"/>
                  <a:gd name="connsiteY11" fmla="*/ 603447 h 5138387"/>
                  <a:gd name="connsiteX0" fmla="*/ 202730 w 3985727"/>
                  <a:gd name="connsiteY0" fmla="*/ 603447 h 5138387"/>
                  <a:gd name="connsiteX1" fmla="*/ 1239555 w 3985727"/>
                  <a:gd name="connsiteY1" fmla="*/ 15684 h 5138387"/>
                  <a:gd name="connsiteX2" fmla="*/ 1563410 w 3985727"/>
                  <a:gd name="connsiteY2" fmla="*/ 403111 h 5138387"/>
                  <a:gd name="connsiteX3" fmla="*/ 1581349 w 3985727"/>
                  <a:gd name="connsiteY3" fmla="*/ 1692192 h 5138387"/>
                  <a:gd name="connsiteX4" fmla="*/ 759567 w 3985727"/>
                  <a:gd name="connsiteY4" fmla="*/ 1904842 h 5138387"/>
                  <a:gd name="connsiteX5" fmla="*/ 2115696 w 3985727"/>
                  <a:gd name="connsiteY5" fmla="*/ 4130579 h 5138387"/>
                  <a:gd name="connsiteX6" fmla="*/ 2743501 w 3985727"/>
                  <a:gd name="connsiteY6" fmla="*/ 3294177 h 5138387"/>
                  <a:gd name="connsiteX7" fmla="*/ 3974102 w 3985727"/>
                  <a:gd name="connsiteY7" fmla="*/ 4490732 h 5138387"/>
                  <a:gd name="connsiteX8" fmla="*/ 3225922 w 3985727"/>
                  <a:gd name="connsiteY8" fmla="*/ 5138180 h 5138387"/>
                  <a:gd name="connsiteX9" fmla="*/ 1260425 w 3985727"/>
                  <a:gd name="connsiteY9" fmla="*/ 4526272 h 5138387"/>
                  <a:gd name="connsiteX10" fmla="*/ 128243 w 3985727"/>
                  <a:gd name="connsiteY10" fmla="*/ 2535469 h 5138387"/>
                  <a:gd name="connsiteX11" fmla="*/ 202730 w 3985727"/>
                  <a:gd name="connsiteY11" fmla="*/ 603447 h 5138387"/>
                  <a:gd name="connsiteX0" fmla="*/ 202730 w 3985727"/>
                  <a:gd name="connsiteY0" fmla="*/ 603447 h 5138387"/>
                  <a:gd name="connsiteX1" fmla="*/ 1239555 w 3985727"/>
                  <a:gd name="connsiteY1" fmla="*/ 15684 h 5138387"/>
                  <a:gd name="connsiteX2" fmla="*/ 1563410 w 3985727"/>
                  <a:gd name="connsiteY2" fmla="*/ 403111 h 5138387"/>
                  <a:gd name="connsiteX3" fmla="*/ 1581349 w 3985727"/>
                  <a:gd name="connsiteY3" fmla="*/ 1692192 h 5138387"/>
                  <a:gd name="connsiteX4" fmla="*/ 759567 w 3985727"/>
                  <a:gd name="connsiteY4" fmla="*/ 1904842 h 5138387"/>
                  <a:gd name="connsiteX5" fmla="*/ 2115696 w 3985727"/>
                  <a:gd name="connsiteY5" fmla="*/ 4130579 h 5138387"/>
                  <a:gd name="connsiteX6" fmla="*/ 2743501 w 3985727"/>
                  <a:gd name="connsiteY6" fmla="*/ 3294177 h 5138387"/>
                  <a:gd name="connsiteX7" fmla="*/ 3974102 w 3985727"/>
                  <a:gd name="connsiteY7" fmla="*/ 4490732 h 5138387"/>
                  <a:gd name="connsiteX8" fmla="*/ 3225922 w 3985727"/>
                  <a:gd name="connsiteY8" fmla="*/ 5138180 h 5138387"/>
                  <a:gd name="connsiteX9" fmla="*/ 1260425 w 3985727"/>
                  <a:gd name="connsiteY9" fmla="*/ 4526272 h 5138387"/>
                  <a:gd name="connsiteX10" fmla="*/ 128243 w 3985727"/>
                  <a:gd name="connsiteY10" fmla="*/ 2535469 h 5138387"/>
                  <a:gd name="connsiteX11" fmla="*/ 202730 w 3985727"/>
                  <a:gd name="connsiteY11" fmla="*/ 603447 h 5138387"/>
                  <a:gd name="connsiteX0" fmla="*/ 167458 w 3950455"/>
                  <a:gd name="connsiteY0" fmla="*/ 603447 h 5138387"/>
                  <a:gd name="connsiteX1" fmla="*/ 1204283 w 3950455"/>
                  <a:gd name="connsiteY1" fmla="*/ 15684 h 5138387"/>
                  <a:gd name="connsiteX2" fmla="*/ 1528138 w 3950455"/>
                  <a:gd name="connsiteY2" fmla="*/ 403111 h 5138387"/>
                  <a:gd name="connsiteX3" fmla="*/ 1546077 w 3950455"/>
                  <a:gd name="connsiteY3" fmla="*/ 1692192 h 5138387"/>
                  <a:gd name="connsiteX4" fmla="*/ 724295 w 3950455"/>
                  <a:gd name="connsiteY4" fmla="*/ 1904842 h 5138387"/>
                  <a:gd name="connsiteX5" fmla="*/ 2080424 w 3950455"/>
                  <a:gd name="connsiteY5" fmla="*/ 4130579 h 5138387"/>
                  <a:gd name="connsiteX6" fmla="*/ 2708229 w 3950455"/>
                  <a:gd name="connsiteY6" fmla="*/ 3294177 h 5138387"/>
                  <a:gd name="connsiteX7" fmla="*/ 3938830 w 3950455"/>
                  <a:gd name="connsiteY7" fmla="*/ 4490732 h 5138387"/>
                  <a:gd name="connsiteX8" fmla="*/ 3190650 w 3950455"/>
                  <a:gd name="connsiteY8" fmla="*/ 5138180 h 5138387"/>
                  <a:gd name="connsiteX9" fmla="*/ 1225153 w 3950455"/>
                  <a:gd name="connsiteY9" fmla="*/ 4526272 h 5138387"/>
                  <a:gd name="connsiteX10" fmla="*/ 92971 w 3950455"/>
                  <a:gd name="connsiteY10" fmla="*/ 2535469 h 5138387"/>
                  <a:gd name="connsiteX11" fmla="*/ 167458 w 3950455"/>
                  <a:gd name="connsiteY11" fmla="*/ 603447 h 5138387"/>
                  <a:gd name="connsiteX0" fmla="*/ 167458 w 3949584"/>
                  <a:gd name="connsiteY0" fmla="*/ 603447 h 5138387"/>
                  <a:gd name="connsiteX1" fmla="*/ 1204283 w 3949584"/>
                  <a:gd name="connsiteY1" fmla="*/ 15684 h 5138387"/>
                  <a:gd name="connsiteX2" fmla="*/ 1528138 w 3949584"/>
                  <a:gd name="connsiteY2" fmla="*/ 403111 h 5138387"/>
                  <a:gd name="connsiteX3" fmla="*/ 1546077 w 3949584"/>
                  <a:gd name="connsiteY3" fmla="*/ 1692192 h 5138387"/>
                  <a:gd name="connsiteX4" fmla="*/ 724295 w 3949584"/>
                  <a:gd name="connsiteY4" fmla="*/ 1904842 h 5138387"/>
                  <a:gd name="connsiteX5" fmla="*/ 2080424 w 3949584"/>
                  <a:gd name="connsiteY5" fmla="*/ 4130579 h 5138387"/>
                  <a:gd name="connsiteX6" fmla="*/ 2615938 w 3949584"/>
                  <a:gd name="connsiteY6" fmla="*/ 3299724 h 5138387"/>
                  <a:gd name="connsiteX7" fmla="*/ 3938830 w 3949584"/>
                  <a:gd name="connsiteY7" fmla="*/ 4490732 h 5138387"/>
                  <a:gd name="connsiteX8" fmla="*/ 3190650 w 3949584"/>
                  <a:gd name="connsiteY8" fmla="*/ 5138180 h 5138387"/>
                  <a:gd name="connsiteX9" fmla="*/ 1225153 w 3949584"/>
                  <a:gd name="connsiteY9" fmla="*/ 4526272 h 5138387"/>
                  <a:gd name="connsiteX10" fmla="*/ 92971 w 3949584"/>
                  <a:gd name="connsiteY10" fmla="*/ 2535469 h 5138387"/>
                  <a:gd name="connsiteX11" fmla="*/ 167458 w 3949584"/>
                  <a:gd name="connsiteY11" fmla="*/ 603447 h 5138387"/>
                  <a:gd name="connsiteX0" fmla="*/ 167458 w 3949386"/>
                  <a:gd name="connsiteY0" fmla="*/ 603447 h 5138387"/>
                  <a:gd name="connsiteX1" fmla="*/ 1204283 w 3949386"/>
                  <a:gd name="connsiteY1" fmla="*/ 15684 h 5138387"/>
                  <a:gd name="connsiteX2" fmla="*/ 1528138 w 3949386"/>
                  <a:gd name="connsiteY2" fmla="*/ 403111 h 5138387"/>
                  <a:gd name="connsiteX3" fmla="*/ 1546077 w 3949386"/>
                  <a:gd name="connsiteY3" fmla="*/ 1692192 h 5138387"/>
                  <a:gd name="connsiteX4" fmla="*/ 724295 w 3949386"/>
                  <a:gd name="connsiteY4" fmla="*/ 1904842 h 5138387"/>
                  <a:gd name="connsiteX5" fmla="*/ 2080424 w 3949386"/>
                  <a:gd name="connsiteY5" fmla="*/ 4130579 h 5138387"/>
                  <a:gd name="connsiteX6" fmla="*/ 2615938 w 3949386"/>
                  <a:gd name="connsiteY6" fmla="*/ 3299724 h 5138387"/>
                  <a:gd name="connsiteX7" fmla="*/ 3938830 w 3949386"/>
                  <a:gd name="connsiteY7" fmla="*/ 4490732 h 5138387"/>
                  <a:gd name="connsiteX8" fmla="*/ 3190650 w 3949386"/>
                  <a:gd name="connsiteY8" fmla="*/ 5138180 h 5138387"/>
                  <a:gd name="connsiteX9" fmla="*/ 1225153 w 3949386"/>
                  <a:gd name="connsiteY9" fmla="*/ 4526272 h 5138387"/>
                  <a:gd name="connsiteX10" fmla="*/ 92971 w 3949386"/>
                  <a:gd name="connsiteY10" fmla="*/ 2535469 h 5138387"/>
                  <a:gd name="connsiteX11" fmla="*/ 167458 w 3949386"/>
                  <a:gd name="connsiteY11" fmla="*/ 603447 h 5138387"/>
                  <a:gd name="connsiteX0" fmla="*/ 167458 w 3939944"/>
                  <a:gd name="connsiteY0" fmla="*/ 603447 h 5138387"/>
                  <a:gd name="connsiteX1" fmla="*/ 1204283 w 3939944"/>
                  <a:gd name="connsiteY1" fmla="*/ 15684 h 5138387"/>
                  <a:gd name="connsiteX2" fmla="*/ 1528138 w 3939944"/>
                  <a:gd name="connsiteY2" fmla="*/ 403111 h 5138387"/>
                  <a:gd name="connsiteX3" fmla="*/ 1546077 w 3939944"/>
                  <a:gd name="connsiteY3" fmla="*/ 1692192 h 5138387"/>
                  <a:gd name="connsiteX4" fmla="*/ 724295 w 3939944"/>
                  <a:gd name="connsiteY4" fmla="*/ 1904842 h 5138387"/>
                  <a:gd name="connsiteX5" fmla="*/ 2080424 w 3939944"/>
                  <a:gd name="connsiteY5" fmla="*/ 4130579 h 5138387"/>
                  <a:gd name="connsiteX6" fmla="*/ 2615938 w 3939944"/>
                  <a:gd name="connsiteY6" fmla="*/ 3299724 h 5138387"/>
                  <a:gd name="connsiteX7" fmla="*/ 3938830 w 3939944"/>
                  <a:gd name="connsiteY7" fmla="*/ 4490732 h 5138387"/>
                  <a:gd name="connsiteX8" fmla="*/ 3190650 w 3939944"/>
                  <a:gd name="connsiteY8" fmla="*/ 5138180 h 5138387"/>
                  <a:gd name="connsiteX9" fmla="*/ 1225153 w 3939944"/>
                  <a:gd name="connsiteY9" fmla="*/ 4526272 h 5138387"/>
                  <a:gd name="connsiteX10" fmla="*/ 92971 w 3939944"/>
                  <a:gd name="connsiteY10" fmla="*/ 2535469 h 5138387"/>
                  <a:gd name="connsiteX11" fmla="*/ 167458 w 3939944"/>
                  <a:gd name="connsiteY11" fmla="*/ 603447 h 5138387"/>
                  <a:gd name="connsiteX0" fmla="*/ 167458 w 3926222"/>
                  <a:gd name="connsiteY0" fmla="*/ 603447 h 5138387"/>
                  <a:gd name="connsiteX1" fmla="*/ 1204283 w 3926222"/>
                  <a:gd name="connsiteY1" fmla="*/ 15684 h 5138387"/>
                  <a:gd name="connsiteX2" fmla="*/ 1528138 w 3926222"/>
                  <a:gd name="connsiteY2" fmla="*/ 403111 h 5138387"/>
                  <a:gd name="connsiteX3" fmla="*/ 1546077 w 3926222"/>
                  <a:gd name="connsiteY3" fmla="*/ 1692192 h 5138387"/>
                  <a:gd name="connsiteX4" fmla="*/ 724295 w 3926222"/>
                  <a:gd name="connsiteY4" fmla="*/ 1904842 h 5138387"/>
                  <a:gd name="connsiteX5" fmla="*/ 2080424 w 3926222"/>
                  <a:gd name="connsiteY5" fmla="*/ 4130579 h 5138387"/>
                  <a:gd name="connsiteX6" fmla="*/ 2615938 w 3926222"/>
                  <a:gd name="connsiteY6" fmla="*/ 3299724 h 5138387"/>
                  <a:gd name="connsiteX7" fmla="*/ 3925080 w 3926222"/>
                  <a:gd name="connsiteY7" fmla="*/ 4552725 h 5138387"/>
                  <a:gd name="connsiteX8" fmla="*/ 3190650 w 3926222"/>
                  <a:gd name="connsiteY8" fmla="*/ 5138180 h 5138387"/>
                  <a:gd name="connsiteX9" fmla="*/ 1225153 w 3926222"/>
                  <a:gd name="connsiteY9" fmla="*/ 4526272 h 5138387"/>
                  <a:gd name="connsiteX10" fmla="*/ 92971 w 3926222"/>
                  <a:gd name="connsiteY10" fmla="*/ 2535469 h 5138387"/>
                  <a:gd name="connsiteX11" fmla="*/ 167458 w 3926222"/>
                  <a:gd name="connsiteY11" fmla="*/ 603447 h 5138387"/>
                  <a:gd name="connsiteX0" fmla="*/ 167458 w 3926222"/>
                  <a:gd name="connsiteY0" fmla="*/ 603447 h 5138387"/>
                  <a:gd name="connsiteX1" fmla="*/ 1204283 w 3926222"/>
                  <a:gd name="connsiteY1" fmla="*/ 15684 h 5138387"/>
                  <a:gd name="connsiteX2" fmla="*/ 1528138 w 3926222"/>
                  <a:gd name="connsiteY2" fmla="*/ 403111 h 5138387"/>
                  <a:gd name="connsiteX3" fmla="*/ 1546077 w 3926222"/>
                  <a:gd name="connsiteY3" fmla="*/ 1692192 h 5138387"/>
                  <a:gd name="connsiteX4" fmla="*/ 724295 w 3926222"/>
                  <a:gd name="connsiteY4" fmla="*/ 1904842 h 5138387"/>
                  <a:gd name="connsiteX5" fmla="*/ 2080424 w 3926222"/>
                  <a:gd name="connsiteY5" fmla="*/ 4130579 h 5138387"/>
                  <a:gd name="connsiteX6" fmla="*/ 2615938 w 3926222"/>
                  <a:gd name="connsiteY6" fmla="*/ 3299724 h 5138387"/>
                  <a:gd name="connsiteX7" fmla="*/ 3925080 w 3926222"/>
                  <a:gd name="connsiteY7" fmla="*/ 4552725 h 5138387"/>
                  <a:gd name="connsiteX8" fmla="*/ 3190650 w 3926222"/>
                  <a:gd name="connsiteY8" fmla="*/ 5138180 h 5138387"/>
                  <a:gd name="connsiteX9" fmla="*/ 1225153 w 3926222"/>
                  <a:gd name="connsiteY9" fmla="*/ 4526272 h 5138387"/>
                  <a:gd name="connsiteX10" fmla="*/ 92971 w 3926222"/>
                  <a:gd name="connsiteY10" fmla="*/ 2535469 h 5138387"/>
                  <a:gd name="connsiteX11" fmla="*/ 167458 w 3926222"/>
                  <a:gd name="connsiteY11" fmla="*/ 603447 h 5138387"/>
                  <a:gd name="connsiteX0" fmla="*/ 167458 w 3930315"/>
                  <a:gd name="connsiteY0" fmla="*/ 603447 h 5138387"/>
                  <a:gd name="connsiteX1" fmla="*/ 1204283 w 3930315"/>
                  <a:gd name="connsiteY1" fmla="*/ 15684 h 5138387"/>
                  <a:gd name="connsiteX2" fmla="*/ 1528138 w 3930315"/>
                  <a:gd name="connsiteY2" fmla="*/ 403111 h 5138387"/>
                  <a:gd name="connsiteX3" fmla="*/ 1546077 w 3930315"/>
                  <a:gd name="connsiteY3" fmla="*/ 1692192 h 5138387"/>
                  <a:gd name="connsiteX4" fmla="*/ 724295 w 3930315"/>
                  <a:gd name="connsiteY4" fmla="*/ 1904842 h 5138387"/>
                  <a:gd name="connsiteX5" fmla="*/ 2080424 w 3930315"/>
                  <a:gd name="connsiteY5" fmla="*/ 4130579 h 5138387"/>
                  <a:gd name="connsiteX6" fmla="*/ 2615938 w 3930315"/>
                  <a:gd name="connsiteY6" fmla="*/ 3299724 h 5138387"/>
                  <a:gd name="connsiteX7" fmla="*/ 3929181 w 3930315"/>
                  <a:gd name="connsiteY7" fmla="*/ 4475583 h 5138387"/>
                  <a:gd name="connsiteX8" fmla="*/ 3190650 w 3930315"/>
                  <a:gd name="connsiteY8" fmla="*/ 5138180 h 5138387"/>
                  <a:gd name="connsiteX9" fmla="*/ 1225153 w 3930315"/>
                  <a:gd name="connsiteY9" fmla="*/ 4526272 h 5138387"/>
                  <a:gd name="connsiteX10" fmla="*/ 92971 w 3930315"/>
                  <a:gd name="connsiteY10" fmla="*/ 2535469 h 5138387"/>
                  <a:gd name="connsiteX11" fmla="*/ 167458 w 3930315"/>
                  <a:gd name="connsiteY11" fmla="*/ 603447 h 5138387"/>
                  <a:gd name="connsiteX0" fmla="*/ 167458 w 3930315"/>
                  <a:gd name="connsiteY0" fmla="*/ 603447 h 5138387"/>
                  <a:gd name="connsiteX1" fmla="*/ 1204283 w 3930315"/>
                  <a:gd name="connsiteY1" fmla="*/ 15684 h 5138387"/>
                  <a:gd name="connsiteX2" fmla="*/ 1528138 w 3930315"/>
                  <a:gd name="connsiteY2" fmla="*/ 403111 h 5138387"/>
                  <a:gd name="connsiteX3" fmla="*/ 1546077 w 3930315"/>
                  <a:gd name="connsiteY3" fmla="*/ 1692192 h 5138387"/>
                  <a:gd name="connsiteX4" fmla="*/ 724295 w 3930315"/>
                  <a:gd name="connsiteY4" fmla="*/ 1904842 h 5138387"/>
                  <a:gd name="connsiteX5" fmla="*/ 2080424 w 3930315"/>
                  <a:gd name="connsiteY5" fmla="*/ 4130579 h 5138387"/>
                  <a:gd name="connsiteX6" fmla="*/ 2698580 w 3930315"/>
                  <a:gd name="connsiteY6" fmla="*/ 3279028 h 5138387"/>
                  <a:gd name="connsiteX7" fmla="*/ 3929181 w 3930315"/>
                  <a:gd name="connsiteY7" fmla="*/ 4475583 h 5138387"/>
                  <a:gd name="connsiteX8" fmla="*/ 3190650 w 3930315"/>
                  <a:gd name="connsiteY8" fmla="*/ 5138180 h 5138387"/>
                  <a:gd name="connsiteX9" fmla="*/ 1225153 w 3930315"/>
                  <a:gd name="connsiteY9" fmla="*/ 4526272 h 5138387"/>
                  <a:gd name="connsiteX10" fmla="*/ 92971 w 3930315"/>
                  <a:gd name="connsiteY10" fmla="*/ 2535469 h 5138387"/>
                  <a:gd name="connsiteX11" fmla="*/ 167458 w 3930315"/>
                  <a:gd name="connsiteY11" fmla="*/ 603447 h 5138387"/>
                  <a:gd name="connsiteX0" fmla="*/ 167458 w 3930315"/>
                  <a:gd name="connsiteY0" fmla="*/ 603447 h 5138387"/>
                  <a:gd name="connsiteX1" fmla="*/ 1204283 w 3930315"/>
                  <a:gd name="connsiteY1" fmla="*/ 15684 h 5138387"/>
                  <a:gd name="connsiteX2" fmla="*/ 1528138 w 3930315"/>
                  <a:gd name="connsiteY2" fmla="*/ 403111 h 5138387"/>
                  <a:gd name="connsiteX3" fmla="*/ 1546077 w 3930315"/>
                  <a:gd name="connsiteY3" fmla="*/ 1692192 h 5138387"/>
                  <a:gd name="connsiteX4" fmla="*/ 724295 w 3930315"/>
                  <a:gd name="connsiteY4" fmla="*/ 1904842 h 5138387"/>
                  <a:gd name="connsiteX5" fmla="*/ 2080424 w 3930315"/>
                  <a:gd name="connsiteY5" fmla="*/ 4130579 h 5138387"/>
                  <a:gd name="connsiteX6" fmla="*/ 2698580 w 3930315"/>
                  <a:gd name="connsiteY6" fmla="*/ 3279028 h 5138387"/>
                  <a:gd name="connsiteX7" fmla="*/ 3929181 w 3930315"/>
                  <a:gd name="connsiteY7" fmla="*/ 4475583 h 5138387"/>
                  <a:gd name="connsiteX8" fmla="*/ 3190650 w 3930315"/>
                  <a:gd name="connsiteY8" fmla="*/ 5138180 h 5138387"/>
                  <a:gd name="connsiteX9" fmla="*/ 1225153 w 3930315"/>
                  <a:gd name="connsiteY9" fmla="*/ 4526272 h 5138387"/>
                  <a:gd name="connsiteX10" fmla="*/ 92971 w 3930315"/>
                  <a:gd name="connsiteY10" fmla="*/ 2535469 h 5138387"/>
                  <a:gd name="connsiteX11" fmla="*/ 167458 w 3930315"/>
                  <a:gd name="connsiteY11" fmla="*/ 603447 h 5138387"/>
                  <a:gd name="connsiteX0" fmla="*/ 167458 w 3930315"/>
                  <a:gd name="connsiteY0" fmla="*/ 603447 h 5138387"/>
                  <a:gd name="connsiteX1" fmla="*/ 1204283 w 3930315"/>
                  <a:gd name="connsiteY1" fmla="*/ 15684 h 5138387"/>
                  <a:gd name="connsiteX2" fmla="*/ 1528138 w 3930315"/>
                  <a:gd name="connsiteY2" fmla="*/ 403111 h 5138387"/>
                  <a:gd name="connsiteX3" fmla="*/ 1546077 w 3930315"/>
                  <a:gd name="connsiteY3" fmla="*/ 1692192 h 5138387"/>
                  <a:gd name="connsiteX4" fmla="*/ 724295 w 3930315"/>
                  <a:gd name="connsiteY4" fmla="*/ 1904842 h 5138387"/>
                  <a:gd name="connsiteX5" fmla="*/ 2080424 w 3930315"/>
                  <a:gd name="connsiteY5" fmla="*/ 4130579 h 5138387"/>
                  <a:gd name="connsiteX6" fmla="*/ 2698580 w 3930315"/>
                  <a:gd name="connsiteY6" fmla="*/ 3279028 h 5138387"/>
                  <a:gd name="connsiteX7" fmla="*/ 3929181 w 3930315"/>
                  <a:gd name="connsiteY7" fmla="*/ 4475583 h 5138387"/>
                  <a:gd name="connsiteX8" fmla="*/ 3190650 w 3930315"/>
                  <a:gd name="connsiteY8" fmla="*/ 5138180 h 5138387"/>
                  <a:gd name="connsiteX9" fmla="*/ 1225153 w 3930315"/>
                  <a:gd name="connsiteY9" fmla="*/ 4526272 h 5138387"/>
                  <a:gd name="connsiteX10" fmla="*/ 92971 w 3930315"/>
                  <a:gd name="connsiteY10" fmla="*/ 2535469 h 5138387"/>
                  <a:gd name="connsiteX11" fmla="*/ 167458 w 3930315"/>
                  <a:gd name="connsiteY11" fmla="*/ 603447 h 5138387"/>
                  <a:gd name="connsiteX0" fmla="*/ 167458 w 3930315"/>
                  <a:gd name="connsiteY0" fmla="*/ 603447 h 5138387"/>
                  <a:gd name="connsiteX1" fmla="*/ 1204283 w 3930315"/>
                  <a:gd name="connsiteY1" fmla="*/ 15684 h 5138387"/>
                  <a:gd name="connsiteX2" fmla="*/ 1528138 w 3930315"/>
                  <a:gd name="connsiteY2" fmla="*/ 403111 h 5138387"/>
                  <a:gd name="connsiteX3" fmla="*/ 1546077 w 3930315"/>
                  <a:gd name="connsiteY3" fmla="*/ 1692192 h 5138387"/>
                  <a:gd name="connsiteX4" fmla="*/ 724295 w 3930315"/>
                  <a:gd name="connsiteY4" fmla="*/ 1904842 h 5138387"/>
                  <a:gd name="connsiteX5" fmla="*/ 2080424 w 3930315"/>
                  <a:gd name="connsiteY5" fmla="*/ 4130579 h 5138387"/>
                  <a:gd name="connsiteX6" fmla="*/ 2676533 w 3930315"/>
                  <a:gd name="connsiteY6" fmla="*/ 3261129 h 5138387"/>
                  <a:gd name="connsiteX7" fmla="*/ 3929181 w 3930315"/>
                  <a:gd name="connsiteY7" fmla="*/ 4475583 h 5138387"/>
                  <a:gd name="connsiteX8" fmla="*/ 3190650 w 3930315"/>
                  <a:gd name="connsiteY8" fmla="*/ 5138180 h 5138387"/>
                  <a:gd name="connsiteX9" fmla="*/ 1225153 w 3930315"/>
                  <a:gd name="connsiteY9" fmla="*/ 4526272 h 5138387"/>
                  <a:gd name="connsiteX10" fmla="*/ 92971 w 3930315"/>
                  <a:gd name="connsiteY10" fmla="*/ 2535469 h 5138387"/>
                  <a:gd name="connsiteX11" fmla="*/ 167458 w 3930315"/>
                  <a:gd name="connsiteY11" fmla="*/ 603447 h 5138387"/>
                  <a:gd name="connsiteX0" fmla="*/ 167458 w 3738092"/>
                  <a:gd name="connsiteY0" fmla="*/ 603447 h 5138387"/>
                  <a:gd name="connsiteX1" fmla="*/ 1204283 w 3738092"/>
                  <a:gd name="connsiteY1" fmla="*/ 15684 h 5138387"/>
                  <a:gd name="connsiteX2" fmla="*/ 1528138 w 3738092"/>
                  <a:gd name="connsiteY2" fmla="*/ 403111 h 5138387"/>
                  <a:gd name="connsiteX3" fmla="*/ 1546077 w 3738092"/>
                  <a:gd name="connsiteY3" fmla="*/ 1692192 h 5138387"/>
                  <a:gd name="connsiteX4" fmla="*/ 724295 w 3738092"/>
                  <a:gd name="connsiteY4" fmla="*/ 1904842 h 5138387"/>
                  <a:gd name="connsiteX5" fmla="*/ 2080424 w 3738092"/>
                  <a:gd name="connsiteY5" fmla="*/ 4130579 h 5138387"/>
                  <a:gd name="connsiteX6" fmla="*/ 2676533 w 3738092"/>
                  <a:gd name="connsiteY6" fmla="*/ 3261129 h 5138387"/>
                  <a:gd name="connsiteX7" fmla="*/ 3736349 w 3738092"/>
                  <a:gd name="connsiteY7" fmla="*/ 4523874 h 5138387"/>
                  <a:gd name="connsiteX8" fmla="*/ 3190650 w 3738092"/>
                  <a:gd name="connsiteY8" fmla="*/ 5138180 h 5138387"/>
                  <a:gd name="connsiteX9" fmla="*/ 1225153 w 3738092"/>
                  <a:gd name="connsiteY9" fmla="*/ 4526272 h 5138387"/>
                  <a:gd name="connsiteX10" fmla="*/ 92971 w 3738092"/>
                  <a:gd name="connsiteY10" fmla="*/ 2535469 h 5138387"/>
                  <a:gd name="connsiteX11" fmla="*/ 167458 w 3738092"/>
                  <a:gd name="connsiteY11" fmla="*/ 603447 h 5138387"/>
                  <a:gd name="connsiteX0" fmla="*/ 167458 w 3861537"/>
                  <a:gd name="connsiteY0" fmla="*/ 603447 h 5138387"/>
                  <a:gd name="connsiteX1" fmla="*/ 1204283 w 3861537"/>
                  <a:gd name="connsiteY1" fmla="*/ 15684 h 5138387"/>
                  <a:gd name="connsiteX2" fmla="*/ 1528138 w 3861537"/>
                  <a:gd name="connsiteY2" fmla="*/ 403111 h 5138387"/>
                  <a:gd name="connsiteX3" fmla="*/ 1546077 w 3861537"/>
                  <a:gd name="connsiteY3" fmla="*/ 1692192 h 5138387"/>
                  <a:gd name="connsiteX4" fmla="*/ 724295 w 3861537"/>
                  <a:gd name="connsiteY4" fmla="*/ 1904842 h 5138387"/>
                  <a:gd name="connsiteX5" fmla="*/ 2080424 w 3861537"/>
                  <a:gd name="connsiteY5" fmla="*/ 4130579 h 5138387"/>
                  <a:gd name="connsiteX6" fmla="*/ 2676533 w 3861537"/>
                  <a:gd name="connsiteY6" fmla="*/ 3261129 h 5138387"/>
                  <a:gd name="connsiteX7" fmla="*/ 3860241 w 3861537"/>
                  <a:gd name="connsiteY7" fmla="*/ 4317198 h 5138387"/>
                  <a:gd name="connsiteX8" fmla="*/ 3190650 w 3861537"/>
                  <a:gd name="connsiteY8" fmla="*/ 5138180 h 5138387"/>
                  <a:gd name="connsiteX9" fmla="*/ 1225153 w 3861537"/>
                  <a:gd name="connsiteY9" fmla="*/ 4526272 h 5138387"/>
                  <a:gd name="connsiteX10" fmla="*/ 92971 w 3861537"/>
                  <a:gd name="connsiteY10" fmla="*/ 2535469 h 5138387"/>
                  <a:gd name="connsiteX11" fmla="*/ 167458 w 3861537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676533 w 3947664"/>
                  <a:gd name="connsiteY6" fmla="*/ 3261129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38387"/>
                  <a:gd name="connsiteX1" fmla="*/ 1204283 w 3947664"/>
                  <a:gd name="connsiteY1" fmla="*/ 15684 h 5138387"/>
                  <a:gd name="connsiteX2" fmla="*/ 1528138 w 3947664"/>
                  <a:gd name="connsiteY2" fmla="*/ 403111 h 5138387"/>
                  <a:gd name="connsiteX3" fmla="*/ 1546077 w 3947664"/>
                  <a:gd name="connsiteY3" fmla="*/ 1692192 h 5138387"/>
                  <a:gd name="connsiteX4" fmla="*/ 724295 w 3947664"/>
                  <a:gd name="connsiteY4" fmla="*/ 1904842 h 5138387"/>
                  <a:gd name="connsiteX5" fmla="*/ 2080424 w 3947664"/>
                  <a:gd name="connsiteY5" fmla="*/ 4130579 h 5138387"/>
                  <a:gd name="connsiteX6" fmla="*/ 2869412 w 3947664"/>
                  <a:gd name="connsiteY6" fmla="*/ 3329926 h 5138387"/>
                  <a:gd name="connsiteX7" fmla="*/ 3860241 w 3947664"/>
                  <a:gd name="connsiteY7" fmla="*/ 4317198 h 5138387"/>
                  <a:gd name="connsiteX8" fmla="*/ 3190650 w 3947664"/>
                  <a:gd name="connsiteY8" fmla="*/ 5138180 h 5138387"/>
                  <a:gd name="connsiteX9" fmla="*/ 1225153 w 3947664"/>
                  <a:gd name="connsiteY9" fmla="*/ 4526272 h 5138387"/>
                  <a:gd name="connsiteX10" fmla="*/ 92971 w 3947664"/>
                  <a:gd name="connsiteY10" fmla="*/ 2535469 h 5138387"/>
                  <a:gd name="connsiteX11" fmla="*/ 167458 w 3947664"/>
                  <a:gd name="connsiteY11" fmla="*/ 603447 h 5138387"/>
                  <a:gd name="connsiteX0" fmla="*/ 167458 w 3947664"/>
                  <a:gd name="connsiteY0" fmla="*/ 603447 h 5142819"/>
                  <a:gd name="connsiteX1" fmla="*/ 1204283 w 3947664"/>
                  <a:gd name="connsiteY1" fmla="*/ 15684 h 5142819"/>
                  <a:gd name="connsiteX2" fmla="*/ 1528138 w 3947664"/>
                  <a:gd name="connsiteY2" fmla="*/ 403111 h 5142819"/>
                  <a:gd name="connsiteX3" fmla="*/ 1546077 w 3947664"/>
                  <a:gd name="connsiteY3" fmla="*/ 1692192 h 5142819"/>
                  <a:gd name="connsiteX4" fmla="*/ 724295 w 3947664"/>
                  <a:gd name="connsiteY4" fmla="*/ 1904842 h 5142819"/>
                  <a:gd name="connsiteX5" fmla="*/ 2080424 w 3947664"/>
                  <a:gd name="connsiteY5" fmla="*/ 4130579 h 5142819"/>
                  <a:gd name="connsiteX6" fmla="*/ 2869412 w 3947664"/>
                  <a:gd name="connsiteY6" fmla="*/ 3329926 h 5142819"/>
                  <a:gd name="connsiteX7" fmla="*/ 3860241 w 3947664"/>
                  <a:gd name="connsiteY7" fmla="*/ 4317198 h 5142819"/>
                  <a:gd name="connsiteX8" fmla="*/ 3190650 w 3947664"/>
                  <a:gd name="connsiteY8" fmla="*/ 5138180 h 5142819"/>
                  <a:gd name="connsiteX9" fmla="*/ 1225153 w 3947664"/>
                  <a:gd name="connsiteY9" fmla="*/ 4526272 h 5142819"/>
                  <a:gd name="connsiteX10" fmla="*/ 92971 w 3947664"/>
                  <a:gd name="connsiteY10" fmla="*/ 2535469 h 5142819"/>
                  <a:gd name="connsiteX11" fmla="*/ 167458 w 3947664"/>
                  <a:gd name="connsiteY11" fmla="*/ 603447 h 5142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947664" h="5142819">
                    <a:moveTo>
                      <a:pt x="167458" y="603447"/>
                    </a:moveTo>
                    <a:cubicBezTo>
                      <a:pt x="329946" y="178441"/>
                      <a:pt x="879786" y="-66138"/>
                      <a:pt x="1204283" y="15684"/>
                    </a:cubicBezTo>
                    <a:cubicBezTo>
                      <a:pt x="1437096" y="81791"/>
                      <a:pt x="1528138" y="200236"/>
                      <a:pt x="1528138" y="403111"/>
                    </a:cubicBezTo>
                    <a:cubicBezTo>
                      <a:pt x="1525401" y="852553"/>
                      <a:pt x="1548814" y="1242750"/>
                      <a:pt x="1546077" y="1692192"/>
                    </a:cubicBezTo>
                    <a:cubicBezTo>
                      <a:pt x="1464833" y="1968108"/>
                      <a:pt x="1022306" y="2121072"/>
                      <a:pt x="724295" y="1904842"/>
                    </a:cubicBezTo>
                    <a:cubicBezTo>
                      <a:pt x="769134" y="2539925"/>
                      <a:pt x="1457933" y="3816950"/>
                      <a:pt x="2080424" y="4130579"/>
                    </a:cubicBezTo>
                    <a:cubicBezTo>
                      <a:pt x="2006952" y="3652423"/>
                      <a:pt x="2551115" y="3103225"/>
                      <a:pt x="2869412" y="3329926"/>
                    </a:cubicBezTo>
                    <a:cubicBezTo>
                      <a:pt x="3133706" y="3538090"/>
                      <a:pt x="3608322" y="3971823"/>
                      <a:pt x="3860241" y="4317198"/>
                    </a:cubicBezTo>
                    <a:cubicBezTo>
                      <a:pt x="4205898" y="4826459"/>
                      <a:pt x="3431245" y="5109155"/>
                      <a:pt x="3190650" y="5138180"/>
                    </a:cubicBezTo>
                    <a:cubicBezTo>
                      <a:pt x="2656614" y="5182288"/>
                      <a:pt x="1657842" y="4906828"/>
                      <a:pt x="1225153" y="4526272"/>
                    </a:cubicBezTo>
                    <a:cubicBezTo>
                      <a:pt x="578937" y="4111366"/>
                      <a:pt x="160182" y="3143400"/>
                      <a:pt x="92971" y="2535469"/>
                    </a:cubicBezTo>
                    <a:cubicBezTo>
                      <a:pt x="-65011" y="1738172"/>
                      <a:pt x="-9371" y="1209404"/>
                      <a:pt x="167458" y="603447"/>
                    </a:cubicBezTo>
                    <a:close/>
                  </a:path>
                </a:pathLst>
              </a:custGeom>
              <a:solidFill>
                <a:srgbClr val="94949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/>
              </a:p>
            </p:txBody>
          </p: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A1C38799-8789-41B6-89BA-487639EDC9EA}"/>
                  </a:ext>
                </a:extLst>
              </p:cNvPr>
              <p:cNvGrpSpPr/>
              <p:nvPr/>
            </p:nvGrpSpPr>
            <p:grpSpPr>
              <a:xfrm>
                <a:off x="787245" y="2100771"/>
                <a:ext cx="279448" cy="308128"/>
                <a:chOff x="3366753" y="5424758"/>
                <a:chExt cx="411125" cy="397843"/>
              </a:xfrm>
              <a:solidFill>
                <a:srgbClr val="949494"/>
              </a:solidFill>
            </p:grpSpPr>
            <p:sp>
              <p:nvSpPr>
                <p:cNvPr id="121" name="Freeform 59">
                  <a:extLst>
                    <a:ext uri="{FF2B5EF4-FFF2-40B4-BE49-F238E27FC236}">
                      <a16:creationId xmlns:a16="http://schemas.microsoft.com/office/drawing/2014/main" id="{B13E4243-C5D2-4015-89AF-ACB1D4DD9483}"/>
                    </a:ext>
                  </a:extLst>
                </p:cNvPr>
                <p:cNvSpPr/>
                <p:nvPr/>
              </p:nvSpPr>
              <p:spPr>
                <a:xfrm rot="5400000">
                  <a:off x="3373394" y="5418117"/>
                  <a:ext cx="397843" cy="411125"/>
                </a:xfrm>
                <a:custGeom>
                  <a:avLst/>
                  <a:gdLst>
                    <a:gd name="connsiteX0" fmla="*/ 972 w 2545890"/>
                    <a:gd name="connsiteY0" fmla="*/ 2424056 h 2631676"/>
                    <a:gd name="connsiteX1" fmla="*/ 286295 w 2545890"/>
                    <a:gd name="connsiteY1" fmla="*/ 1379250 h 2631676"/>
                    <a:gd name="connsiteX2" fmla="*/ 2480522 w 2545890"/>
                    <a:gd name="connsiteY2" fmla="*/ 44 h 2631676"/>
                    <a:gd name="connsiteX3" fmla="*/ 2545890 w 2545890"/>
                    <a:gd name="connsiteY3" fmla="*/ 5258 h 2631676"/>
                    <a:gd name="connsiteX4" fmla="*/ 2545890 w 2545890"/>
                    <a:gd name="connsiteY4" fmla="*/ 484014 h 2631676"/>
                    <a:gd name="connsiteX5" fmla="*/ 2371246 w 2545890"/>
                    <a:gd name="connsiteY5" fmla="*/ 504917 h 2631676"/>
                    <a:gd name="connsiteX6" fmla="*/ 879605 w 2545890"/>
                    <a:gd name="connsiteY6" fmla="*/ 1286108 h 2631676"/>
                    <a:gd name="connsiteX7" fmla="*/ 486291 w 2545890"/>
                    <a:gd name="connsiteY7" fmla="*/ 2531526 h 2631676"/>
                    <a:gd name="connsiteX8" fmla="*/ 484280 w 2545890"/>
                    <a:gd name="connsiteY8" fmla="*/ 2631676 h 2631676"/>
                    <a:gd name="connsiteX9" fmla="*/ 4343 w 2545890"/>
                    <a:gd name="connsiteY9" fmla="*/ 2631676 h 2631676"/>
                    <a:gd name="connsiteX10" fmla="*/ 2167 w 2545890"/>
                    <a:gd name="connsiteY10" fmla="*/ 2601892 h 2631676"/>
                    <a:gd name="connsiteX11" fmla="*/ 972 w 2545890"/>
                    <a:gd name="connsiteY11" fmla="*/ 2424056 h 2631676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1951 w 2545674"/>
                    <a:gd name="connsiteY0" fmla="*/ 2596634 h 2626418"/>
                    <a:gd name="connsiteX1" fmla="*/ 286079 w 2545674"/>
                    <a:gd name="connsiteY1" fmla="*/ 1373992 h 2626418"/>
                    <a:gd name="connsiteX2" fmla="*/ 2545674 w 2545674"/>
                    <a:gd name="connsiteY2" fmla="*/ 0 h 2626418"/>
                    <a:gd name="connsiteX3" fmla="*/ 2545674 w 2545674"/>
                    <a:gd name="connsiteY3" fmla="*/ 478756 h 2626418"/>
                    <a:gd name="connsiteX4" fmla="*/ 2371030 w 2545674"/>
                    <a:gd name="connsiteY4" fmla="*/ 499659 h 2626418"/>
                    <a:gd name="connsiteX5" fmla="*/ 879389 w 2545674"/>
                    <a:gd name="connsiteY5" fmla="*/ 1280850 h 2626418"/>
                    <a:gd name="connsiteX6" fmla="*/ 486075 w 2545674"/>
                    <a:gd name="connsiteY6" fmla="*/ 2526268 h 2626418"/>
                    <a:gd name="connsiteX7" fmla="*/ 484064 w 2545674"/>
                    <a:gd name="connsiteY7" fmla="*/ 2626418 h 2626418"/>
                    <a:gd name="connsiteX8" fmla="*/ 4127 w 2545674"/>
                    <a:gd name="connsiteY8" fmla="*/ 2626418 h 2626418"/>
                    <a:gd name="connsiteX9" fmla="*/ 1951 w 2545674"/>
                    <a:gd name="connsiteY9" fmla="*/ 2596634 h 2626418"/>
                    <a:gd name="connsiteX0" fmla="*/ 0 w 2541547"/>
                    <a:gd name="connsiteY0" fmla="*/ 2626418 h 2626418"/>
                    <a:gd name="connsiteX1" fmla="*/ 281952 w 2541547"/>
                    <a:gd name="connsiteY1" fmla="*/ 1373992 h 2626418"/>
                    <a:gd name="connsiteX2" fmla="*/ 2541547 w 2541547"/>
                    <a:gd name="connsiteY2" fmla="*/ 0 h 2626418"/>
                    <a:gd name="connsiteX3" fmla="*/ 2541547 w 2541547"/>
                    <a:gd name="connsiteY3" fmla="*/ 478756 h 2626418"/>
                    <a:gd name="connsiteX4" fmla="*/ 2366903 w 2541547"/>
                    <a:gd name="connsiteY4" fmla="*/ 499659 h 2626418"/>
                    <a:gd name="connsiteX5" fmla="*/ 875262 w 2541547"/>
                    <a:gd name="connsiteY5" fmla="*/ 1280850 h 2626418"/>
                    <a:gd name="connsiteX6" fmla="*/ 481948 w 2541547"/>
                    <a:gd name="connsiteY6" fmla="*/ 2526268 h 2626418"/>
                    <a:gd name="connsiteX7" fmla="*/ 479937 w 2541547"/>
                    <a:gd name="connsiteY7" fmla="*/ 2626418 h 2626418"/>
                    <a:gd name="connsiteX8" fmla="*/ 0 w 2541547"/>
                    <a:gd name="connsiteY8" fmla="*/ 2626418 h 2626418"/>
                    <a:gd name="connsiteX0" fmla="*/ 8849 w 2550396"/>
                    <a:gd name="connsiteY0" fmla="*/ 2626418 h 2626418"/>
                    <a:gd name="connsiteX1" fmla="*/ 290801 w 2550396"/>
                    <a:gd name="connsiteY1" fmla="*/ 1373992 h 2626418"/>
                    <a:gd name="connsiteX2" fmla="*/ 2550396 w 2550396"/>
                    <a:gd name="connsiteY2" fmla="*/ 0 h 2626418"/>
                    <a:gd name="connsiteX3" fmla="*/ 2550396 w 2550396"/>
                    <a:gd name="connsiteY3" fmla="*/ 478756 h 2626418"/>
                    <a:gd name="connsiteX4" fmla="*/ 2375752 w 2550396"/>
                    <a:gd name="connsiteY4" fmla="*/ 499659 h 2626418"/>
                    <a:gd name="connsiteX5" fmla="*/ 884111 w 2550396"/>
                    <a:gd name="connsiteY5" fmla="*/ 1280850 h 2626418"/>
                    <a:gd name="connsiteX6" fmla="*/ 490797 w 2550396"/>
                    <a:gd name="connsiteY6" fmla="*/ 2526268 h 2626418"/>
                    <a:gd name="connsiteX7" fmla="*/ 488786 w 2550396"/>
                    <a:gd name="connsiteY7" fmla="*/ 2626418 h 2626418"/>
                    <a:gd name="connsiteX8" fmla="*/ 8849 w 2550396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889139 w 2555424"/>
                    <a:gd name="connsiteY5" fmla="*/ 1280850 h 2626418"/>
                    <a:gd name="connsiteX6" fmla="*/ 495825 w 2555424"/>
                    <a:gd name="connsiteY6" fmla="*/ 2526268 h 2626418"/>
                    <a:gd name="connsiteX7" fmla="*/ 493814 w 2555424"/>
                    <a:gd name="connsiteY7" fmla="*/ 2626418 h 2626418"/>
                    <a:gd name="connsiteX8" fmla="*/ 13877 w 2555424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495825 w 2555424"/>
                    <a:gd name="connsiteY5" fmla="*/ 2526268 h 2626418"/>
                    <a:gd name="connsiteX6" fmla="*/ 493814 w 2555424"/>
                    <a:gd name="connsiteY6" fmla="*/ 2626418 h 2626418"/>
                    <a:gd name="connsiteX7" fmla="*/ 13877 w 2555424"/>
                    <a:gd name="connsiteY7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5825 w 2555424"/>
                    <a:gd name="connsiteY4" fmla="*/ 2526268 h 2626418"/>
                    <a:gd name="connsiteX5" fmla="*/ 493814 w 2555424"/>
                    <a:gd name="connsiteY5" fmla="*/ 2626418 h 2626418"/>
                    <a:gd name="connsiteX6" fmla="*/ 13877 w 2555424"/>
                    <a:gd name="connsiteY6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0 w 2541547"/>
                    <a:gd name="connsiteY0" fmla="*/ 2626418 h 2626418"/>
                    <a:gd name="connsiteX1" fmla="*/ 2541547 w 2541547"/>
                    <a:gd name="connsiteY1" fmla="*/ 0 h 2626418"/>
                    <a:gd name="connsiteX2" fmla="*/ 2541547 w 2541547"/>
                    <a:gd name="connsiteY2" fmla="*/ 478756 h 2626418"/>
                    <a:gd name="connsiteX3" fmla="*/ 479937 w 2541547"/>
                    <a:gd name="connsiteY3" fmla="*/ 2626418 h 2626418"/>
                    <a:gd name="connsiteX4" fmla="*/ 0 w 2541547"/>
                    <a:gd name="connsiteY4" fmla="*/ 2626418 h 2626418"/>
                    <a:gd name="connsiteX0" fmla="*/ 1547 w 2543094"/>
                    <a:gd name="connsiteY0" fmla="*/ 2626418 h 2626418"/>
                    <a:gd name="connsiteX1" fmla="*/ 2543094 w 2543094"/>
                    <a:gd name="connsiteY1" fmla="*/ 0 h 2626418"/>
                    <a:gd name="connsiteX2" fmla="*/ 2543094 w 2543094"/>
                    <a:gd name="connsiteY2" fmla="*/ 478756 h 2626418"/>
                    <a:gd name="connsiteX3" fmla="*/ 481484 w 2543094"/>
                    <a:gd name="connsiteY3" fmla="*/ 2626418 h 2626418"/>
                    <a:gd name="connsiteX4" fmla="*/ 1547 w 2543094"/>
                    <a:gd name="connsiteY4" fmla="*/ 2626418 h 2626418"/>
                    <a:gd name="connsiteX0" fmla="*/ 1825 w 2543372"/>
                    <a:gd name="connsiteY0" fmla="*/ 2626418 h 2626418"/>
                    <a:gd name="connsiteX1" fmla="*/ 2543372 w 2543372"/>
                    <a:gd name="connsiteY1" fmla="*/ 0 h 2626418"/>
                    <a:gd name="connsiteX2" fmla="*/ 2543372 w 2543372"/>
                    <a:gd name="connsiteY2" fmla="*/ 478756 h 2626418"/>
                    <a:gd name="connsiteX3" fmla="*/ 481762 w 2543372"/>
                    <a:gd name="connsiteY3" fmla="*/ 2626418 h 2626418"/>
                    <a:gd name="connsiteX4" fmla="*/ 1825 w 2543372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479958 w 2541568"/>
                    <a:gd name="connsiteY3" fmla="*/ 2626418 h 2626418"/>
                    <a:gd name="connsiteX4" fmla="*/ 21 w 2541568"/>
                    <a:gd name="connsiteY4" fmla="*/ 2626418 h 2626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41568" h="2626418">
                      <a:moveTo>
                        <a:pt x="21" y="2626418"/>
                      </a:moveTo>
                      <a:cubicBezTo>
                        <a:pt x="-6895" y="474182"/>
                        <a:pt x="1775077" y="68384"/>
                        <a:pt x="2541568" y="0"/>
                      </a:cubicBezTo>
                      <a:lnTo>
                        <a:pt x="2541568" y="478756"/>
                      </a:lnTo>
                      <a:cubicBezTo>
                        <a:pt x="1679105" y="577423"/>
                        <a:pt x="466121" y="1079951"/>
                        <a:pt x="479958" y="2626418"/>
                      </a:cubicBezTo>
                      <a:lnTo>
                        <a:pt x="21" y="26264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/>
                </a:p>
              </p:txBody>
            </p:sp>
            <p:sp>
              <p:nvSpPr>
                <p:cNvPr id="122" name="Freeform 60">
                  <a:extLst>
                    <a:ext uri="{FF2B5EF4-FFF2-40B4-BE49-F238E27FC236}">
                      <a16:creationId xmlns:a16="http://schemas.microsoft.com/office/drawing/2014/main" id="{2B3280EE-EA4A-419E-B0A8-CECE756DF748}"/>
                    </a:ext>
                  </a:extLst>
                </p:cNvPr>
                <p:cNvSpPr/>
                <p:nvPr/>
              </p:nvSpPr>
              <p:spPr>
                <a:xfrm rot="5400000">
                  <a:off x="3372415" y="5551077"/>
                  <a:ext cx="265805" cy="275526"/>
                </a:xfrm>
                <a:custGeom>
                  <a:avLst/>
                  <a:gdLst>
                    <a:gd name="connsiteX0" fmla="*/ 972 w 2545890"/>
                    <a:gd name="connsiteY0" fmla="*/ 2424056 h 2631676"/>
                    <a:gd name="connsiteX1" fmla="*/ 286295 w 2545890"/>
                    <a:gd name="connsiteY1" fmla="*/ 1379250 h 2631676"/>
                    <a:gd name="connsiteX2" fmla="*/ 2480522 w 2545890"/>
                    <a:gd name="connsiteY2" fmla="*/ 44 h 2631676"/>
                    <a:gd name="connsiteX3" fmla="*/ 2545890 w 2545890"/>
                    <a:gd name="connsiteY3" fmla="*/ 5258 h 2631676"/>
                    <a:gd name="connsiteX4" fmla="*/ 2545890 w 2545890"/>
                    <a:gd name="connsiteY4" fmla="*/ 484014 h 2631676"/>
                    <a:gd name="connsiteX5" fmla="*/ 2371246 w 2545890"/>
                    <a:gd name="connsiteY5" fmla="*/ 504917 h 2631676"/>
                    <a:gd name="connsiteX6" fmla="*/ 879605 w 2545890"/>
                    <a:gd name="connsiteY6" fmla="*/ 1286108 h 2631676"/>
                    <a:gd name="connsiteX7" fmla="*/ 486291 w 2545890"/>
                    <a:gd name="connsiteY7" fmla="*/ 2531526 h 2631676"/>
                    <a:gd name="connsiteX8" fmla="*/ 484280 w 2545890"/>
                    <a:gd name="connsiteY8" fmla="*/ 2631676 h 2631676"/>
                    <a:gd name="connsiteX9" fmla="*/ 4343 w 2545890"/>
                    <a:gd name="connsiteY9" fmla="*/ 2631676 h 2631676"/>
                    <a:gd name="connsiteX10" fmla="*/ 2167 w 2545890"/>
                    <a:gd name="connsiteY10" fmla="*/ 2601892 h 2631676"/>
                    <a:gd name="connsiteX11" fmla="*/ 972 w 2545890"/>
                    <a:gd name="connsiteY11" fmla="*/ 2424056 h 2631676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1951 w 2545674"/>
                    <a:gd name="connsiteY0" fmla="*/ 2596634 h 2626418"/>
                    <a:gd name="connsiteX1" fmla="*/ 286079 w 2545674"/>
                    <a:gd name="connsiteY1" fmla="*/ 1373992 h 2626418"/>
                    <a:gd name="connsiteX2" fmla="*/ 2545674 w 2545674"/>
                    <a:gd name="connsiteY2" fmla="*/ 0 h 2626418"/>
                    <a:gd name="connsiteX3" fmla="*/ 2545674 w 2545674"/>
                    <a:gd name="connsiteY3" fmla="*/ 478756 h 2626418"/>
                    <a:gd name="connsiteX4" fmla="*/ 2371030 w 2545674"/>
                    <a:gd name="connsiteY4" fmla="*/ 499659 h 2626418"/>
                    <a:gd name="connsiteX5" fmla="*/ 879389 w 2545674"/>
                    <a:gd name="connsiteY5" fmla="*/ 1280850 h 2626418"/>
                    <a:gd name="connsiteX6" fmla="*/ 486075 w 2545674"/>
                    <a:gd name="connsiteY6" fmla="*/ 2526268 h 2626418"/>
                    <a:gd name="connsiteX7" fmla="*/ 484064 w 2545674"/>
                    <a:gd name="connsiteY7" fmla="*/ 2626418 h 2626418"/>
                    <a:gd name="connsiteX8" fmla="*/ 4127 w 2545674"/>
                    <a:gd name="connsiteY8" fmla="*/ 2626418 h 2626418"/>
                    <a:gd name="connsiteX9" fmla="*/ 1951 w 2545674"/>
                    <a:gd name="connsiteY9" fmla="*/ 2596634 h 2626418"/>
                    <a:gd name="connsiteX0" fmla="*/ 0 w 2541547"/>
                    <a:gd name="connsiteY0" fmla="*/ 2626418 h 2626418"/>
                    <a:gd name="connsiteX1" fmla="*/ 281952 w 2541547"/>
                    <a:gd name="connsiteY1" fmla="*/ 1373992 h 2626418"/>
                    <a:gd name="connsiteX2" fmla="*/ 2541547 w 2541547"/>
                    <a:gd name="connsiteY2" fmla="*/ 0 h 2626418"/>
                    <a:gd name="connsiteX3" fmla="*/ 2541547 w 2541547"/>
                    <a:gd name="connsiteY3" fmla="*/ 478756 h 2626418"/>
                    <a:gd name="connsiteX4" fmla="*/ 2366903 w 2541547"/>
                    <a:gd name="connsiteY4" fmla="*/ 499659 h 2626418"/>
                    <a:gd name="connsiteX5" fmla="*/ 875262 w 2541547"/>
                    <a:gd name="connsiteY5" fmla="*/ 1280850 h 2626418"/>
                    <a:gd name="connsiteX6" fmla="*/ 481948 w 2541547"/>
                    <a:gd name="connsiteY6" fmla="*/ 2526268 h 2626418"/>
                    <a:gd name="connsiteX7" fmla="*/ 479937 w 2541547"/>
                    <a:gd name="connsiteY7" fmla="*/ 2626418 h 2626418"/>
                    <a:gd name="connsiteX8" fmla="*/ 0 w 2541547"/>
                    <a:gd name="connsiteY8" fmla="*/ 2626418 h 2626418"/>
                    <a:gd name="connsiteX0" fmla="*/ 8849 w 2550396"/>
                    <a:gd name="connsiteY0" fmla="*/ 2626418 h 2626418"/>
                    <a:gd name="connsiteX1" fmla="*/ 290801 w 2550396"/>
                    <a:gd name="connsiteY1" fmla="*/ 1373992 h 2626418"/>
                    <a:gd name="connsiteX2" fmla="*/ 2550396 w 2550396"/>
                    <a:gd name="connsiteY2" fmla="*/ 0 h 2626418"/>
                    <a:gd name="connsiteX3" fmla="*/ 2550396 w 2550396"/>
                    <a:gd name="connsiteY3" fmla="*/ 478756 h 2626418"/>
                    <a:gd name="connsiteX4" fmla="*/ 2375752 w 2550396"/>
                    <a:gd name="connsiteY4" fmla="*/ 499659 h 2626418"/>
                    <a:gd name="connsiteX5" fmla="*/ 884111 w 2550396"/>
                    <a:gd name="connsiteY5" fmla="*/ 1280850 h 2626418"/>
                    <a:gd name="connsiteX6" fmla="*/ 490797 w 2550396"/>
                    <a:gd name="connsiteY6" fmla="*/ 2526268 h 2626418"/>
                    <a:gd name="connsiteX7" fmla="*/ 488786 w 2550396"/>
                    <a:gd name="connsiteY7" fmla="*/ 2626418 h 2626418"/>
                    <a:gd name="connsiteX8" fmla="*/ 8849 w 2550396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889139 w 2555424"/>
                    <a:gd name="connsiteY5" fmla="*/ 1280850 h 2626418"/>
                    <a:gd name="connsiteX6" fmla="*/ 495825 w 2555424"/>
                    <a:gd name="connsiteY6" fmla="*/ 2526268 h 2626418"/>
                    <a:gd name="connsiteX7" fmla="*/ 493814 w 2555424"/>
                    <a:gd name="connsiteY7" fmla="*/ 2626418 h 2626418"/>
                    <a:gd name="connsiteX8" fmla="*/ 13877 w 2555424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495825 w 2555424"/>
                    <a:gd name="connsiteY5" fmla="*/ 2526268 h 2626418"/>
                    <a:gd name="connsiteX6" fmla="*/ 493814 w 2555424"/>
                    <a:gd name="connsiteY6" fmla="*/ 2626418 h 2626418"/>
                    <a:gd name="connsiteX7" fmla="*/ 13877 w 2555424"/>
                    <a:gd name="connsiteY7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5825 w 2555424"/>
                    <a:gd name="connsiteY4" fmla="*/ 2526268 h 2626418"/>
                    <a:gd name="connsiteX5" fmla="*/ 493814 w 2555424"/>
                    <a:gd name="connsiteY5" fmla="*/ 2626418 h 2626418"/>
                    <a:gd name="connsiteX6" fmla="*/ 13877 w 2555424"/>
                    <a:gd name="connsiteY6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0 w 2541547"/>
                    <a:gd name="connsiteY0" fmla="*/ 2626418 h 2626418"/>
                    <a:gd name="connsiteX1" fmla="*/ 2541547 w 2541547"/>
                    <a:gd name="connsiteY1" fmla="*/ 0 h 2626418"/>
                    <a:gd name="connsiteX2" fmla="*/ 2541547 w 2541547"/>
                    <a:gd name="connsiteY2" fmla="*/ 478756 h 2626418"/>
                    <a:gd name="connsiteX3" fmla="*/ 479937 w 2541547"/>
                    <a:gd name="connsiteY3" fmla="*/ 2626418 h 2626418"/>
                    <a:gd name="connsiteX4" fmla="*/ 0 w 2541547"/>
                    <a:gd name="connsiteY4" fmla="*/ 2626418 h 2626418"/>
                    <a:gd name="connsiteX0" fmla="*/ 1547 w 2543094"/>
                    <a:gd name="connsiteY0" fmla="*/ 2626418 h 2626418"/>
                    <a:gd name="connsiteX1" fmla="*/ 2543094 w 2543094"/>
                    <a:gd name="connsiteY1" fmla="*/ 0 h 2626418"/>
                    <a:gd name="connsiteX2" fmla="*/ 2543094 w 2543094"/>
                    <a:gd name="connsiteY2" fmla="*/ 478756 h 2626418"/>
                    <a:gd name="connsiteX3" fmla="*/ 481484 w 2543094"/>
                    <a:gd name="connsiteY3" fmla="*/ 2626418 h 2626418"/>
                    <a:gd name="connsiteX4" fmla="*/ 1547 w 2543094"/>
                    <a:gd name="connsiteY4" fmla="*/ 2626418 h 2626418"/>
                    <a:gd name="connsiteX0" fmla="*/ 1825 w 2543372"/>
                    <a:gd name="connsiteY0" fmla="*/ 2626418 h 2626418"/>
                    <a:gd name="connsiteX1" fmla="*/ 2543372 w 2543372"/>
                    <a:gd name="connsiteY1" fmla="*/ 0 h 2626418"/>
                    <a:gd name="connsiteX2" fmla="*/ 2543372 w 2543372"/>
                    <a:gd name="connsiteY2" fmla="*/ 478756 h 2626418"/>
                    <a:gd name="connsiteX3" fmla="*/ 481762 w 2543372"/>
                    <a:gd name="connsiteY3" fmla="*/ 2626418 h 2626418"/>
                    <a:gd name="connsiteX4" fmla="*/ 1825 w 2543372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479958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67435 w 2541568"/>
                    <a:gd name="connsiteY3" fmla="*/ 2612700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81153 w 2541568"/>
                    <a:gd name="connsiteY3" fmla="*/ 2621845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30991"/>
                    <a:gd name="connsiteX1" fmla="*/ 2541568 w 2541568"/>
                    <a:gd name="connsiteY1" fmla="*/ 0 h 2630991"/>
                    <a:gd name="connsiteX2" fmla="*/ 2541568 w 2541568"/>
                    <a:gd name="connsiteY2" fmla="*/ 478756 h 2630991"/>
                    <a:gd name="connsiteX3" fmla="*/ 681153 w 2541568"/>
                    <a:gd name="connsiteY3" fmla="*/ 2630991 h 2630991"/>
                    <a:gd name="connsiteX4" fmla="*/ 21 w 2541568"/>
                    <a:gd name="connsiteY4" fmla="*/ 2626418 h 2630991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81156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440971 w 2541568"/>
                    <a:gd name="connsiteY2" fmla="*/ 766830 h 2626418"/>
                    <a:gd name="connsiteX3" fmla="*/ 681156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445543"/>
                    <a:gd name="connsiteY0" fmla="*/ 2534966 h 2534966"/>
                    <a:gd name="connsiteX1" fmla="*/ 2445543 w 2445543"/>
                    <a:gd name="connsiteY1" fmla="*/ 0 h 2534966"/>
                    <a:gd name="connsiteX2" fmla="*/ 2440971 w 2445543"/>
                    <a:gd name="connsiteY2" fmla="*/ 675378 h 2534966"/>
                    <a:gd name="connsiteX3" fmla="*/ 681156 w 2445543"/>
                    <a:gd name="connsiteY3" fmla="*/ 2534966 h 2534966"/>
                    <a:gd name="connsiteX4" fmla="*/ 21 w 2445543"/>
                    <a:gd name="connsiteY4" fmla="*/ 2534966 h 2534966"/>
                    <a:gd name="connsiteX0" fmla="*/ 21 w 2445543"/>
                    <a:gd name="connsiteY0" fmla="*/ 2534966 h 2534966"/>
                    <a:gd name="connsiteX1" fmla="*/ 2445543 w 2445543"/>
                    <a:gd name="connsiteY1" fmla="*/ 0 h 2534966"/>
                    <a:gd name="connsiteX2" fmla="*/ 2440974 w 2445543"/>
                    <a:gd name="connsiteY2" fmla="*/ 675377 h 2534966"/>
                    <a:gd name="connsiteX3" fmla="*/ 681156 w 2445543"/>
                    <a:gd name="connsiteY3" fmla="*/ 2534966 h 2534966"/>
                    <a:gd name="connsiteX4" fmla="*/ 21 w 2445543"/>
                    <a:gd name="connsiteY4" fmla="*/ 2534966 h 2534966"/>
                    <a:gd name="connsiteX0" fmla="*/ 21 w 2445552"/>
                    <a:gd name="connsiteY0" fmla="*/ 2534966 h 2534966"/>
                    <a:gd name="connsiteX1" fmla="*/ 2445543 w 2445552"/>
                    <a:gd name="connsiteY1" fmla="*/ 0 h 2534966"/>
                    <a:gd name="connsiteX2" fmla="*/ 2445551 w 2445552"/>
                    <a:gd name="connsiteY2" fmla="*/ 675376 h 2534966"/>
                    <a:gd name="connsiteX3" fmla="*/ 681156 w 2445552"/>
                    <a:gd name="connsiteY3" fmla="*/ 2534966 h 2534966"/>
                    <a:gd name="connsiteX4" fmla="*/ 21 w 2445552"/>
                    <a:gd name="connsiteY4" fmla="*/ 2534966 h 2534966"/>
                    <a:gd name="connsiteX0" fmla="*/ -1 w 2445529"/>
                    <a:gd name="connsiteY0" fmla="*/ 2534966 h 2534966"/>
                    <a:gd name="connsiteX1" fmla="*/ 2445521 w 2445529"/>
                    <a:gd name="connsiteY1" fmla="*/ 0 h 2534966"/>
                    <a:gd name="connsiteX2" fmla="*/ 2445529 w 2445529"/>
                    <a:gd name="connsiteY2" fmla="*/ 675376 h 2534966"/>
                    <a:gd name="connsiteX3" fmla="*/ 681134 w 2445529"/>
                    <a:gd name="connsiteY3" fmla="*/ 2534966 h 2534966"/>
                    <a:gd name="connsiteX4" fmla="*/ -1 w 2445529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45530" h="2534966">
                      <a:moveTo>
                        <a:pt x="0" y="2534966"/>
                      </a:moveTo>
                      <a:cubicBezTo>
                        <a:pt x="2232" y="465037"/>
                        <a:pt x="1679031" y="68384"/>
                        <a:pt x="2445522" y="0"/>
                      </a:cubicBezTo>
                      <a:cubicBezTo>
                        <a:pt x="2445525" y="225125"/>
                        <a:pt x="2445527" y="450251"/>
                        <a:pt x="2445530" y="675376"/>
                      </a:cubicBezTo>
                      <a:cubicBezTo>
                        <a:pt x="1592216" y="819768"/>
                        <a:pt x="804476" y="1116532"/>
                        <a:pt x="681135" y="2534966"/>
                      </a:cubicBezTo>
                      <a:lnTo>
                        <a:pt x="0" y="253496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/>
                </a:p>
              </p:txBody>
            </p:sp>
            <p:sp>
              <p:nvSpPr>
                <p:cNvPr id="123" name="Freeform 61">
                  <a:extLst>
                    <a:ext uri="{FF2B5EF4-FFF2-40B4-BE49-F238E27FC236}">
                      <a16:creationId xmlns:a16="http://schemas.microsoft.com/office/drawing/2014/main" id="{BC12CBC3-B986-4916-AC74-C5C4C8FB2200}"/>
                    </a:ext>
                  </a:extLst>
                </p:cNvPr>
                <p:cNvSpPr/>
                <p:nvPr/>
              </p:nvSpPr>
              <p:spPr>
                <a:xfrm rot="5400000">
                  <a:off x="3373418" y="5700925"/>
                  <a:ext cx="116190" cy="125930"/>
                </a:xfrm>
                <a:custGeom>
                  <a:avLst/>
                  <a:gdLst>
                    <a:gd name="connsiteX0" fmla="*/ 972 w 2545890"/>
                    <a:gd name="connsiteY0" fmla="*/ 2424056 h 2631676"/>
                    <a:gd name="connsiteX1" fmla="*/ 286295 w 2545890"/>
                    <a:gd name="connsiteY1" fmla="*/ 1379250 h 2631676"/>
                    <a:gd name="connsiteX2" fmla="*/ 2480522 w 2545890"/>
                    <a:gd name="connsiteY2" fmla="*/ 44 h 2631676"/>
                    <a:gd name="connsiteX3" fmla="*/ 2545890 w 2545890"/>
                    <a:gd name="connsiteY3" fmla="*/ 5258 h 2631676"/>
                    <a:gd name="connsiteX4" fmla="*/ 2545890 w 2545890"/>
                    <a:gd name="connsiteY4" fmla="*/ 484014 h 2631676"/>
                    <a:gd name="connsiteX5" fmla="*/ 2371246 w 2545890"/>
                    <a:gd name="connsiteY5" fmla="*/ 504917 h 2631676"/>
                    <a:gd name="connsiteX6" fmla="*/ 879605 w 2545890"/>
                    <a:gd name="connsiteY6" fmla="*/ 1286108 h 2631676"/>
                    <a:gd name="connsiteX7" fmla="*/ 486291 w 2545890"/>
                    <a:gd name="connsiteY7" fmla="*/ 2531526 h 2631676"/>
                    <a:gd name="connsiteX8" fmla="*/ 484280 w 2545890"/>
                    <a:gd name="connsiteY8" fmla="*/ 2631676 h 2631676"/>
                    <a:gd name="connsiteX9" fmla="*/ 4343 w 2545890"/>
                    <a:gd name="connsiteY9" fmla="*/ 2631676 h 2631676"/>
                    <a:gd name="connsiteX10" fmla="*/ 2167 w 2545890"/>
                    <a:gd name="connsiteY10" fmla="*/ 2601892 h 2631676"/>
                    <a:gd name="connsiteX11" fmla="*/ 972 w 2545890"/>
                    <a:gd name="connsiteY11" fmla="*/ 2424056 h 2631676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972 w 2545890"/>
                    <a:gd name="connsiteY0" fmla="*/ 2418798 h 2626418"/>
                    <a:gd name="connsiteX1" fmla="*/ 286295 w 2545890"/>
                    <a:gd name="connsiteY1" fmla="*/ 1373992 h 2626418"/>
                    <a:gd name="connsiteX2" fmla="*/ 2545890 w 2545890"/>
                    <a:gd name="connsiteY2" fmla="*/ 0 h 2626418"/>
                    <a:gd name="connsiteX3" fmla="*/ 2545890 w 2545890"/>
                    <a:gd name="connsiteY3" fmla="*/ 478756 h 2626418"/>
                    <a:gd name="connsiteX4" fmla="*/ 2371246 w 2545890"/>
                    <a:gd name="connsiteY4" fmla="*/ 499659 h 2626418"/>
                    <a:gd name="connsiteX5" fmla="*/ 879605 w 2545890"/>
                    <a:gd name="connsiteY5" fmla="*/ 1280850 h 2626418"/>
                    <a:gd name="connsiteX6" fmla="*/ 486291 w 2545890"/>
                    <a:gd name="connsiteY6" fmla="*/ 2526268 h 2626418"/>
                    <a:gd name="connsiteX7" fmla="*/ 484280 w 2545890"/>
                    <a:gd name="connsiteY7" fmla="*/ 2626418 h 2626418"/>
                    <a:gd name="connsiteX8" fmla="*/ 4343 w 2545890"/>
                    <a:gd name="connsiteY8" fmla="*/ 2626418 h 2626418"/>
                    <a:gd name="connsiteX9" fmla="*/ 2167 w 2545890"/>
                    <a:gd name="connsiteY9" fmla="*/ 2596634 h 2626418"/>
                    <a:gd name="connsiteX10" fmla="*/ 972 w 2545890"/>
                    <a:gd name="connsiteY10" fmla="*/ 2418798 h 2626418"/>
                    <a:gd name="connsiteX0" fmla="*/ 1951 w 2545674"/>
                    <a:gd name="connsiteY0" fmla="*/ 2596634 h 2626418"/>
                    <a:gd name="connsiteX1" fmla="*/ 286079 w 2545674"/>
                    <a:gd name="connsiteY1" fmla="*/ 1373992 h 2626418"/>
                    <a:gd name="connsiteX2" fmla="*/ 2545674 w 2545674"/>
                    <a:gd name="connsiteY2" fmla="*/ 0 h 2626418"/>
                    <a:gd name="connsiteX3" fmla="*/ 2545674 w 2545674"/>
                    <a:gd name="connsiteY3" fmla="*/ 478756 h 2626418"/>
                    <a:gd name="connsiteX4" fmla="*/ 2371030 w 2545674"/>
                    <a:gd name="connsiteY4" fmla="*/ 499659 h 2626418"/>
                    <a:gd name="connsiteX5" fmla="*/ 879389 w 2545674"/>
                    <a:gd name="connsiteY5" fmla="*/ 1280850 h 2626418"/>
                    <a:gd name="connsiteX6" fmla="*/ 486075 w 2545674"/>
                    <a:gd name="connsiteY6" fmla="*/ 2526268 h 2626418"/>
                    <a:gd name="connsiteX7" fmla="*/ 484064 w 2545674"/>
                    <a:gd name="connsiteY7" fmla="*/ 2626418 h 2626418"/>
                    <a:gd name="connsiteX8" fmla="*/ 4127 w 2545674"/>
                    <a:gd name="connsiteY8" fmla="*/ 2626418 h 2626418"/>
                    <a:gd name="connsiteX9" fmla="*/ 1951 w 2545674"/>
                    <a:gd name="connsiteY9" fmla="*/ 2596634 h 2626418"/>
                    <a:gd name="connsiteX0" fmla="*/ 0 w 2541547"/>
                    <a:gd name="connsiteY0" fmla="*/ 2626418 h 2626418"/>
                    <a:gd name="connsiteX1" fmla="*/ 281952 w 2541547"/>
                    <a:gd name="connsiteY1" fmla="*/ 1373992 h 2626418"/>
                    <a:gd name="connsiteX2" fmla="*/ 2541547 w 2541547"/>
                    <a:gd name="connsiteY2" fmla="*/ 0 h 2626418"/>
                    <a:gd name="connsiteX3" fmla="*/ 2541547 w 2541547"/>
                    <a:gd name="connsiteY3" fmla="*/ 478756 h 2626418"/>
                    <a:gd name="connsiteX4" fmla="*/ 2366903 w 2541547"/>
                    <a:gd name="connsiteY4" fmla="*/ 499659 h 2626418"/>
                    <a:gd name="connsiteX5" fmla="*/ 875262 w 2541547"/>
                    <a:gd name="connsiteY5" fmla="*/ 1280850 h 2626418"/>
                    <a:gd name="connsiteX6" fmla="*/ 481948 w 2541547"/>
                    <a:gd name="connsiteY6" fmla="*/ 2526268 h 2626418"/>
                    <a:gd name="connsiteX7" fmla="*/ 479937 w 2541547"/>
                    <a:gd name="connsiteY7" fmla="*/ 2626418 h 2626418"/>
                    <a:gd name="connsiteX8" fmla="*/ 0 w 2541547"/>
                    <a:gd name="connsiteY8" fmla="*/ 2626418 h 2626418"/>
                    <a:gd name="connsiteX0" fmla="*/ 8849 w 2550396"/>
                    <a:gd name="connsiteY0" fmla="*/ 2626418 h 2626418"/>
                    <a:gd name="connsiteX1" fmla="*/ 290801 w 2550396"/>
                    <a:gd name="connsiteY1" fmla="*/ 1373992 h 2626418"/>
                    <a:gd name="connsiteX2" fmla="*/ 2550396 w 2550396"/>
                    <a:gd name="connsiteY2" fmla="*/ 0 h 2626418"/>
                    <a:gd name="connsiteX3" fmla="*/ 2550396 w 2550396"/>
                    <a:gd name="connsiteY3" fmla="*/ 478756 h 2626418"/>
                    <a:gd name="connsiteX4" fmla="*/ 2375752 w 2550396"/>
                    <a:gd name="connsiteY4" fmla="*/ 499659 h 2626418"/>
                    <a:gd name="connsiteX5" fmla="*/ 884111 w 2550396"/>
                    <a:gd name="connsiteY5" fmla="*/ 1280850 h 2626418"/>
                    <a:gd name="connsiteX6" fmla="*/ 490797 w 2550396"/>
                    <a:gd name="connsiteY6" fmla="*/ 2526268 h 2626418"/>
                    <a:gd name="connsiteX7" fmla="*/ 488786 w 2550396"/>
                    <a:gd name="connsiteY7" fmla="*/ 2626418 h 2626418"/>
                    <a:gd name="connsiteX8" fmla="*/ 8849 w 2550396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889139 w 2555424"/>
                    <a:gd name="connsiteY5" fmla="*/ 1280850 h 2626418"/>
                    <a:gd name="connsiteX6" fmla="*/ 495825 w 2555424"/>
                    <a:gd name="connsiteY6" fmla="*/ 2526268 h 2626418"/>
                    <a:gd name="connsiteX7" fmla="*/ 493814 w 2555424"/>
                    <a:gd name="connsiteY7" fmla="*/ 2626418 h 2626418"/>
                    <a:gd name="connsiteX8" fmla="*/ 13877 w 2555424"/>
                    <a:gd name="connsiteY8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2380780 w 2555424"/>
                    <a:gd name="connsiteY4" fmla="*/ 499659 h 2626418"/>
                    <a:gd name="connsiteX5" fmla="*/ 495825 w 2555424"/>
                    <a:gd name="connsiteY5" fmla="*/ 2526268 h 2626418"/>
                    <a:gd name="connsiteX6" fmla="*/ 493814 w 2555424"/>
                    <a:gd name="connsiteY6" fmla="*/ 2626418 h 2626418"/>
                    <a:gd name="connsiteX7" fmla="*/ 13877 w 2555424"/>
                    <a:gd name="connsiteY7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5825 w 2555424"/>
                    <a:gd name="connsiteY4" fmla="*/ 2526268 h 2626418"/>
                    <a:gd name="connsiteX5" fmla="*/ 493814 w 2555424"/>
                    <a:gd name="connsiteY5" fmla="*/ 2626418 h 2626418"/>
                    <a:gd name="connsiteX6" fmla="*/ 13877 w 2555424"/>
                    <a:gd name="connsiteY6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13877 w 2555424"/>
                    <a:gd name="connsiteY0" fmla="*/ 2626418 h 2626418"/>
                    <a:gd name="connsiteX1" fmla="*/ 295829 w 2555424"/>
                    <a:gd name="connsiteY1" fmla="*/ 1373992 h 2626418"/>
                    <a:gd name="connsiteX2" fmla="*/ 2555424 w 2555424"/>
                    <a:gd name="connsiteY2" fmla="*/ 0 h 2626418"/>
                    <a:gd name="connsiteX3" fmla="*/ 2555424 w 2555424"/>
                    <a:gd name="connsiteY3" fmla="*/ 478756 h 2626418"/>
                    <a:gd name="connsiteX4" fmla="*/ 493814 w 2555424"/>
                    <a:gd name="connsiteY4" fmla="*/ 2626418 h 2626418"/>
                    <a:gd name="connsiteX5" fmla="*/ 13877 w 2555424"/>
                    <a:gd name="connsiteY5" fmla="*/ 2626418 h 2626418"/>
                    <a:gd name="connsiteX0" fmla="*/ 0 w 2541547"/>
                    <a:gd name="connsiteY0" fmla="*/ 2626418 h 2626418"/>
                    <a:gd name="connsiteX1" fmla="*/ 2541547 w 2541547"/>
                    <a:gd name="connsiteY1" fmla="*/ 0 h 2626418"/>
                    <a:gd name="connsiteX2" fmla="*/ 2541547 w 2541547"/>
                    <a:gd name="connsiteY2" fmla="*/ 478756 h 2626418"/>
                    <a:gd name="connsiteX3" fmla="*/ 479937 w 2541547"/>
                    <a:gd name="connsiteY3" fmla="*/ 2626418 h 2626418"/>
                    <a:gd name="connsiteX4" fmla="*/ 0 w 2541547"/>
                    <a:gd name="connsiteY4" fmla="*/ 2626418 h 2626418"/>
                    <a:gd name="connsiteX0" fmla="*/ 1547 w 2543094"/>
                    <a:gd name="connsiteY0" fmla="*/ 2626418 h 2626418"/>
                    <a:gd name="connsiteX1" fmla="*/ 2543094 w 2543094"/>
                    <a:gd name="connsiteY1" fmla="*/ 0 h 2626418"/>
                    <a:gd name="connsiteX2" fmla="*/ 2543094 w 2543094"/>
                    <a:gd name="connsiteY2" fmla="*/ 478756 h 2626418"/>
                    <a:gd name="connsiteX3" fmla="*/ 481484 w 2543094"/>
                    <a:gd name="connsiteY3" fmla="*/ 2626418 h 2626418"/>
                    <a:gd name="connsiteX4" fmla="*/ 1547 w 2543094"/>
                    <a:gd name="connsiteY4" fmla="*/ 2626418 h 2626418"/>
                    <a:gd name="connsiteX0" fmla="*/ 1825 w 2543372"/>
                    <a:gd name="connsiteY0" fmla="*/ 2626418 h 2626418"/>
                    <a:gd name="connsiteX1" fmla="*/ 2543372 w 2543372"/>
                    <a:gd name="connsiteY1" fmla="*/ 0 h 2626418"/>
                    <a:gd name="connsiteX2" fmla="*/ 2543372 w 2543372"/>
                    <a:gd name="connsiteY2" fmla="*/ 478756 h 2626418"/>
                    <a:gd name="connsiteX3" fmla="*/ 481762 w 2543372"/>
                    <a:gd name="connsiteY3" fmla="*/ 2626418 h 2626418"/>
                    <a:gd name="connsiteX4" fmla="*/ 1825 w 2543372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479958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67435 w 2541568"/>
                    <a:gd name="connsiteY3" fmla="*/ 2612700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81153 w 2541568"/>
                    <a:gd name="connsiteY3" fmla="*/ 2621845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30991"/>
                    <a:gd name="connsiteX1" fmla="*/ 2541568 w 2541568"/>
                    <a:gd name="connsiteY1" fmla="*/ 0 h 2630991"/>
                    <a:gd name="connsiteX2" fmla="*/ 2541568 w 2541568"/>
                    <a:gd name="connsiteY2" fmla="*/ 478756 h 2630991"/>
                    <a:gd name="connsiteX3" fmla="*/ 681153 w 2541568"/>
                    <a:gd name="connsiteY3" fmla="*/ 2630991 h 2630991"/>
                    <a:gd name="connsiteX4" fmla="*/ 21 w 2541568"/>
                    <a:gd name="connsiteY4" fmla="*/ 2626418 h 2630991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541568 w 2541568"/>
                    <a:gd name="connsiteY2" fmla="*/ 478756 h 2626418"/>
                    <a:gd name="connsiteX3" fmla="*/ 681156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541568"/>
                    <a:gd name="connsiteY0" fmla="*/ 2626418 h 2626418"/>
                    <a:gd name="connsiteX1" fmla="*/ 2541568 w 2541568"/>
                    <a:gd name="connsiteY1" fmla="*/ 0 h 2626418"/>
                    <a:gd name="connsiteX2" fmla="*/ 2440971 w 2541568"/>
                    <a:gd name="connsiteY2" fmla="*/ 766830 h 2626418"/>
                    <a:gd name="connsiteX3" fmla="*/ 681156 w 2541568"/>
                    <a:gd name="connsiteY3" fmla="*/ 2626418 h 2626418"/>
                    <a:gd name="connsiteX4" fmla="*/ 21 w 2541568"/>
                    <a:gd name="connsiteY4" fmla="*/ 2626418 h 2626418"/>
                    <a:gd name="connsiteX0" fmla="*/ 21 w 2445543"/>
                    <a:gd name="connsiteY0" fmla="*/ 2534966 h 2534966"/>
                    <a:gd name="connsiteX1" fmla="*/ 2445543 w 2445543"/>
                    <a:gd name="connsiteY1" fmla="*/ 0 h 2534966"/>
                    <a:gd name="connsiteX2" fmla="*/ 2440971 w 2445543"/>
                    <a:gd name="connsiteY2" fmla="*/ 675378 h 2534966"/>
                    <a:gd name="connsiteX3" fmla="*/ 681156 w 2445543"/>
                    <a:gd name="connsiteY3" fmla="*/ 2534966 h 2534966"/>
                    <a:gd name="connsiteX4" fmla="*/ 21 w 2445543"/>
                    <a:gd name="connsiteY4" fmla="*/ 2534966 h 2534966"/>
                    <a:gd name="connsiteX0" fmla="*/ 21 w 2445543"/>
                    <a:gd name="connsiteY0" fmla="*/ 2534966 h 2534966"/>
                    <a:gd name="connsiteX1" fmla="*/ 2445543 w 2445543"/>
                    <a:gd name="connsiteY1" fmla="*/ 0 h 2534966"/>
                    <a:gd name="connsiteX2" fmla="*/ 2440974 w 2445543"/>
                    <a:gd name="connsiteY2" fmla="*/ 675377 h 2534966"/>
                    <a:gd name="connsiteX3" fmla="*/ 681156 w 2445543"/>
                    <a:gd name="connsiteY3" fmla="*/ 2534966 h 2534966"/>
                    <a:gd name="connsiteX4" fmla="*/ 21 w 2445543"/>
                    <a:gd name="connsiteY4" fmla="*/ 2534966 h 2534966"/>
                    <a:gd name="connsiteX0" fmla="*/ 21 w 2445552"/>
                    <a:gd name="connsiteY0" fmla="*/ 2534966 h 2534966"/>
                    <a:gd name="connsiteX1" fmla="*/ 2445543 w 2445552"/>
                    <a:gd name="connsiteY1" fmla="*/ 0 h 2534966"/>
                    <a:gd name="connsiteX2" fmla="*/ 2445551 w 2445552"/>
                    <a:gd name="connsiteY2" fmla="*/ 675376 h 2534966"/>
                    <a:gd name="connsiteX3" fmla="*/ 681156 w 2445552"/>
                    <a:gd name="connsiteY3" fmla="*/ 2534966 h 2534966"/>
                    <a:gd name="connsiteX4" fmla="*/ 21 w 2445552"/>
                    <a:gd name="connsiteY4" fmla="*/ 2534966 h 2534966"/>
                    <a:gd name="connsiteX0" fmla="*/ -1 w 2445529"/>
                    <a:gd name="connsiteY0" fmla="*/ 2534966 h 2534966"/>
                    <a:gd name="connsiteX1" fmla="*/ 2445521 w 2445529"/>
                    <a:gd name="connsiteY1" fmla="*/ 0 h 2534966"/>
                    <a:gd name="connsiteX2" fmla="*/ 2445529 w 2445529"/>
                    <a:gd name="connsiteY2" fmla="*/ 675376 h 2534966"/>
                    <a:gd name="connsiteX3" fmla="*/ 681134 w 2445529"/>
                    <a:gd name="connsiteY3" fmla="*/ 2534966 h 2534966"/>
                    <a:gd name="connsiteX4" fmla="*/ -1 w 2445529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681135 w 2445530"/>
                    <a:gd name="connsiteY3" fmla="*/ 253496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1288753 w 2445530"/>
                    <a:gd name="connsiteY3" fmla="*/ 2526527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43405"/>
                    <a:gd name="connsiteX1" fmla="*/ 2445522 w 2445530"/>
                    <a:gd name="connsiteY1" fmla="*/ 0 h 2543405"/>
                    <a:gd name="connsiteX2" fmla="*/ 2445530 w 2445530"/>
                    <a:gd name="connsiteY2" fmla="*/ 675376 h 2543405"/>
                    <a:gd name="connsiteX3" fmla="*/ 1288753 w 2445530"/>
                    <a:gd name="connsiteY3" fmla="*/ 2543405 h 2543405"/>
                    <a:gd name="connsiteX4" fmla="*/ 0 w 2445530"/>
                    <a:gd name="connsiteY4" fmla="*/ 2534966 h 2543405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1288759 w 2445530"/>
                    <a:gd name="connsiteY3" fmla="*/ 2518086 h 2534966"/>
                    <a:gd name="connsiteX4" fmla="*/ 0 w 2445530"/>
                    <a:gd name="connsiteY4" fmla="*/ 2534966 h 2534966"/>
                    <a:gd name="connsiteX0" fmla="*/ 0 w 2445530"/>
                    <a:gd name="connsiteY0" fmla="*/ 2534966 h 2534966"/>
                    <a:gd name="connsiteX1" fmla="*/ 2445522 w 2445530"/>
                    <a:gd name="connsiteY1" fmla="*/ 0 h 2534966"/>
                    <a:gd name="connsiteX2" fmla="*/ 2445530 w 2445530"/>
                    <a:gd name="connsiteY2" fmla="*/ 675376 h 2534966"/>
                    <a:gd name="connsiteX3" fmla="*/ 1288758 w 2445530"/>
                    <a:gd name="connsiteY3" fmla="*/ 2534963 h 2534966"/>
                    <a:gd name="connsiteX4" fmla="*/ 0 w 2445530"/>
                    <a:gd name="connsiteY4" fmla="*/ 2534966 h 2534966"/>
                    <a:gd name="connsiteX0" fmla="*/ 0 w 2445522"/>
                    <a:gd name="connsiteY0" fmla="*/ 2534966 h 2534966"/>
                    <a:gd name="connsiteX1" fmla="*/ 2445522 w 2445522"/>
                    <a:gd name="connsiteY1" fmla="*/ 0 h 2534966"/>
                    <a:gd name="connsiteX2" fmla="*/ 1981377 w 2445522"/>
                    <a:gd name="connsiteY2" fmla="*/ 1671196 h 2534966"/>
                    <a:gd name="connsiteX3" fmla="*/ 1288758 w 2445522"/>
                    <a:gd name="connsiteY3" fmla="*/ 2534963 h 2534966"/>
                    <a:gd name="connsiteX4" fmla="*/ 0 w 2445522"/>
                    <a:gd name="connsiteY4" fmla="*/ 2534966 h 253496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81377"/>
                    <a:gd name="connsiteY0" fmla="*/ 2138326 h 2138326"/>
                    <a:gd name="connsiteX1" fmla="*/ 1972936 w 1981377"/>
                    <a:gd name="connsiteY1" fmla="*/ -1 h 2138326"/>
                    <a:gd name="connsiteX2" fmla="*/ 1981377 w 1981377"/>
                    <a:gd name="connsiteY2" fmla="*/ 1274556 h 2138326"/>
                    <a:gd name="connsiteX3" fmla="*/ 1288758 w 1981377"/>
                    <a:gd name="connsiteY3" fmla="*/ 2138323 h 2138326"/>
                    <a:gd name="connsiteX4" fmla="*/ 0 w 1981377"/>
                    <a:gd name="connsiteY4" fmla="*/ 2138326 h 2138326"/>
                    <a:gd name="connsiteX0" fmla="*/ 0 w 1972935"/>
                    <a:gd name="connsiteY0" fmla="*/ 2138326 h 2138326"/>
                    <a:gd name="connsiteX1" fmla="*/ 1972936 w 1972935"/>
                    <a:gd name="connsiteY1" fmla="*/ -1 h 2138326"/>
                    <a:gd name="connsiteX2" fmla="*/ 1956060 w 1972935"/>
                    <a:gd name="connsiteY2" fmla="*/ 1282995 h 2138326"/>
                    <a:gd name="connsiteX3" fmla="*/ 1288758 w 1972935"/>
                    <a:gd name="connsiteY3" fmla="*/ 2138323 h 2138326"/>
                    <a:gd name="connsiteX4" fmla="*/ 0 w 1972935"/>
                    <a:gd name="connsiteY4" fmla="*/ 2138326 h 2138326"/>
                    <a:gd name="connsiteX0" fmla="*/ 0 w 1972935"/>
                    <a:gd name="connsiteY0" fmla="*/ 2138326 h 2138326"/>
                    <a:gd name="connsiteX1" fmla="*/ 1972936 w 1972935"/>
                    <a:gd name="connsiteY1" fmla="*/ -1 h 2138326"/>
                    <a:gd name="connsiteX2" fmla="*/ 1964499 w 1972935"/>
                    <a:gd name="connsiteY2" fmla="*/ 1282995 h 2138326"/>
                    <a:gd name="connsiteX3" fmla="*/ 1288758 w 1972935"/>
                    <a:gd name="connsiteY3" fmla="*/ 2138323 h 2138326"/>
                    <a:gd name="connsiteX4" fmla="*/ 0 w 1972935"/>
                    <a:gd name="connsiteY4" fmla="*/ 2138326 h 21383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72935" h="2138326">
                      <a:moveTo>
                        <a:pt x="0" y="2138326"/>
                      </a:moveTo>
                      <a:cubicBezTo>
                        <a:pt x="44428" y="304694"/>
                        <a:pt x="1257080" y="161213"/>
                        <a:pt x="1972936" y="-1"/>
                      </a:cubicBezTo>
                      <a:cubicBezTo>
                        <a:pt x="1972939" y="225124"/>
                        <a:pt x="1964496" y="1057870"/>
                        <a:pt x="1964499" y="1282995"/>
                      </a:cubicBezTo>
                      <a:cubicBezTo>
                        <a:pt x="1718804" y="1359875"/>
                        <a:pt x="1361465" y="1437218"/>
                        <a:pt x="1288758" y="2138323"/>
                      </a:cubicBezTo>
                      <a:lnTo>
                        <a:pt x="0" y="21383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id="{4B91D89F-7F4B-4134-8485-ED738865BB68}"/>
              </a:ext>
            </a:extLst>
          </p:cNvPr>
          <p:cNvSpPr/>
          <p:nvPr/>
        </p:nvSpPr>
        <p:spPr>
          <a:xfrm>
            <a:off x="47229" y="3316721"/>
            <a:ext cx="1482472" cy="156966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ea typeface="Verdana" panose="020B0604030504040204" pitchFamily="34" charset="0"/>
                <a:cs typeface="Arial" panose="020B0604020202020204" pitchFamily="34" charset="0"/>
              </a:rPr>
              <a:t>SPP-enrolled customers and those facing potential disconnect are called to explore interest in SER completion or </a:t>
            </a:r>
            <a:r>
              <a:rPr lang="en-US" sz="1200">
                <a:ea typeface="Verdana" panose="020B0604030504040204" pitchFamily="34" charset="0"/>
                <a:cs typeface="Arial" panose="020B0604020202020204" pitchFamily="34" charset="0"/>
              </a:rPr>
              <a:t>other assistance </a:t>
            </a:r>
            <a:endParaRPr lang="en-US" sz="1200" dirty="0"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1C757FD3-3571-4685-8248-106497F21766}"/>
              </a:ext>
            </a:extLst>
          </p:cNvPr>
          <p:cNvSpPr/>
          <p:nvPr/>
        </p:nvSpPr>
        <p:spPr>
          <a:xfrm>
            <a:off x="4598495" y="3628932"/>
            <a:ext cx="142264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>
                <a:ea typeface="Verdana" panose="020B0604030504040204" pitchFamily="34" charset="0"/>
                <a:cs typeface="Arial" panose="020B0604020202020204" pitchFamily="34" charset="0"/>
              </a:rPr>
              <a:t>Low Income customers with arrears are navigated through SER application</a:t>
            </a:r>
          </a:p>
        </p:txBody>
      </p:sp>
    </p:spTree>
    <p:extLst>
      <p:ext uri="{BB962C8B-B14F-4D97-AF65-F5344CB8AC3E}">
        <p14:creationId xmlns:p14="http://schemas.microsoft.com/office/powerpoint/2010/main" val="4240595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0D925D-F474-4DD4-9403-E5F056400D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0D925D-F474-4DD4-9403-E5F056400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003FAB-A86E-477F-A4B3-66D07B4DB8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A29FBE8-D7AF-4D59-8F76-C99D467ED0E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en-US" sz="2000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895" y="327371"/>
            <a:ext cx="8398720" cy="814257"/>
          </a:xfrm>
        </p:spPr>
        <p:txBody>
          <a:bodyPr vert="horz">
            <a:no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LIHEAP Direct Support allocates funds to support customers spanning several journeys, while leveraging the DTE allocated contribution to support a broader population of customers in need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38353C2-8BF3-4FC3-8376-9E5F3F1401D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878186" y="6356351"/>
            <a:ext cx="7382534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Verdana" charset="0"/>
              <a:ea typeface="Verdana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97842A8-E06B-45EC-BC0E-5338E40D0D40}"/>
              </a:ext>
            </a:extLst>
          </p:cNvPr>
          <p:cNvSpPr/>
          <p:nvPr/>
        </p:nvSpPr>
        <p:spPr>
          <a:xfrm>
            <a:off x="471351" y="2014551"/>
            <a:ext cx="83742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/>
                </a:solidFill>
                <a:ea typeface="Verdana" panose="020B0604030504040204" pitchFamily="34" charset="0"/>
              </a:rPr>
              <a:t>SER Cap = $2,300 for Dual Commodity, $1,150 for Single Commodity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 panose="020B0604030504040204" pitchFamily="34" charset="0"/>
              </a:rPr>
              <a:t>Portion of Past Due balance has aged over 90 day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0000"/>
                </a:solidFill>
                <a:ea typeface="Verdana" panose="020B0604030504040204" pitchFamily="34" charset="0"/>
              </a:rPr>
              <a:t>DTE agrees to allocate 25% of the equivalent LIHEAP Direct Support funding applied to support high balance/ ineligible customers</a:t>
            </a:r>
            <a:endParaRPr lang="en-US" sz="1200">
              <a:solidFill>
                <a:srgbClr val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68574A-C4B0-4DE8-ACB1-062E6671F937}"/>
              </a:ext>
            </a:extLst>
          </p:cNvPr>
          <p:cNvSpPr txBox="1"/>
          <p:nvPr/>
        </p:nvSpPr>
        <p:spPr>
          <a:xfrm>
            <a:off x="471351" y="1733422"/>
            <a:ext cx="3748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1600" b="1">
                <a:latin typeface="Verdana" charset="0"/>
                <a:ea typeface="Verdana" charset="0"/>
              </a:rPr>
              <a:t>Proposed Criteria for Eligibility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CD363E8A-51F7-40AD-8C60-B742ED1F23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60720" y="6356351"/>
            <a:ext cx="448713" cy="365125"/>
          </a:xfrm>
        </p:spPr>
        <p:txBody>
          <a:bodyPr/>
          <a:lstStyle/>
          <a:p>
            <a:fld id="{7D3001DD-19C0-9A4C-AB02-0A92D46D91C4}" type="slidenum">
              <a:rPr lang="en-US" sz="900"/>
              <a:pPr/>
              <a:t>2</a:t>
            </a:fld>
            <a:endParaRPr lang="en-US" sz="9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D74BB47-77EF-443C-BE59-D1CAA2D9D5AC}"/>
              </a:ext>
            </a:extLst>
          </p:cNvPr>
          <p:cNvSpPr/>
          <p:nvPr/>
        </p:nvSpPr>
        <p:spPr>
          <a:xfrm>
            <a:off x="335169" y="3923596"/>
            <a:ext cx="83742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1">
                <a:latin typeface="Verdana" charset="0"/>
                <a:ea typeface="Verdana" charset="0"/>
              </a:rPr>
              <a:t>LIHEAP Direct Support Recipients Customer Journeys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4165E213-4008-4C2B-8D15-4AEF399961B7}"/>
              </a:ext>
            </a:extLst>
          </p:cNvPr>
          <p:cNvGrpSpPr/>
          <p:nvPr/>
        </p:nvGrpSpPr>
        <p:grpSpPr>
          <a:xfrm>
            <a:off x="340274" y="4267625"/>
            <a:ext cx="8450573" cy="1012583"/>
            <a:chOff x="340274" y="5076988"/>
            <a:chExt cx="8450573" cy="1012583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8963923-F8B1-4AEC-850C-3D727E27DE20}"/>
                </a:ext>
              </a:extLst>
            </p:cNvPr>
            <p:cNvGrpSpPr/>
            <p:nvPr/>
          </p:nvGrpSpPr>
          <p:grpSpPr>
            <a:xfrm>
              <a:off x="340274" y="5076988"/>
              <a:ext cx="844168" cy="967618"/>
              <a:chOff x="1835567" y="1088057"/>
              <a:chExt cx="4224883" cy="4842727"/>
            </a:xfrm>
            <a:solidFill>
              <a:schemeClr val="accent6"/>
            </a:solidFill>
          </p:grpSpPr>
          <p:sp>
            <p:nvSpPr>
              <p:cNvPr id="48" name="Freeform 152">
                <a:extLst>
                  <a:ext uri="{FF2B5EF4-FFF2-40B4-BE49-F238E27FC236}">
                    <a16:creationId xmlns:a16="http://schemas.microsoft.com/office/drawing/2014/main" id="{B499FE28-A679-4A08-BC20-1442182CAAB1}"/>
                  </a:ext>
                </a:extLst>
              </p:cNvPr>
              <p:cNvSpPr/>
              <p:nvPr/>
            </p:nvSpPr>
            <p:spPr>
              <a:xfrm>
                <a:off x="1835567" y="1088057"/>
                <a:ext cx="4224883" cy="4210807"/>
              </a:xfrm>
              <a:custGeom>
                <a:avLst/>
                <a:gdLst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803372 w 4224883"/>
                  <a:gd name="connsiteY26" fmla="*/ 3927404 h 4210806"/>
                  <a:gd name="connsiteX27" fmla="*/ 1779302 w 4224883"/>
                  <a:gd name="connsiteY27" fmla="*/ 4210806 h 4210806"/>
                  <a:gd name="connsiteX28" fmla="*/ 1167066 w 4224883"/>
                  <a:gd name="connsiteY28" fmla="*/ 4055952 h 4210806"/>
                  <a:gd name="connsiteX29" fmla="*/ 1245256 w 4224883"/>
                  <a:gd name="connsiteY29" fmla="*/ 3746819 h 4210806"/>
                  <a:gd name="connsiteX30" fmla="*/ 1207852 w 4224883"/>
                  <a:gd name="connsiteY30" fmla="*/ 3728800 h 4210806"/>
                  <a:gd name="connsiteX31" fmla="*/ 782723 w 4224883"/>
                  <a:gd name="connsiteY31" fmla="*/ 3411129 h 4210806"/>
                  <a:gd name="connsiteX32" fmla="*/ 668756 w 4224883"/>
                  <a:gd name="connsiteY32" fmla="*/ 3285733 h 4210806"/>
                  <a:gd name="connsiteX33" fmla="*/ 445204 w 4224883"/>
                  <a:gd name="connsiteY33" fmla="*/ 3415032 h 4210806"/>
                  <a:gd name="connsiteX34" fmla="*/ 92007 w 4224883"/>
                  <a:gd name="connsiteY34" fmla="*/ 2804367 h 4210806"/>
                  <a:gd name="connsiteX35" fmla="*/ 329613 w 4224883"/>
                  <a:gd name="connsiteY35" fmla="*/ 2666940 h 4210806"/>
                  <a:gd name="connsiteX36" fmla="*/ 325333 w 4224883"/>
                  <a:gd name="connsiteY36" fmla="*/ 2655246 h 4210806"/>
                  <a:gd name="connsiteX37" fmla="*/ 242395 w 4224883"/>
                  <a:gd name="connsiteY37" fmla="*/ 2106659 h 4210806"/>
                  <a:gd name="connsiteX38" fmla="*/ 253268 w 4224883"/>
                  <a:gd name="connsiteY38" fmla="*/ 1915189 h 4210806"/>
                  <a:gd name="connsiteX39" fmla="*/ 0 w 4224883"/>
                  <a:gd name="connsiteY39" fmla="*/ 1836730 h 4210806"/>
                  <a:gd name="connsiteX40" fmla="*/ 205679 w 4224883"/>
                  <a:gd name="connsiteY40" fmla="*/ 1172801 h 4210806"/>
                  <a:gd name="connsiteX41" fmla="*/ 455529 w 4224883"/>
                  <a:gd name="connsiteY41" fmla="*/ 1250203 h 4210806"/>
                  <a:gd name="connsiteX42" fmla="*/ 521138 w 4224883"/>
                  <a:gd name="connsiteY42" fmla="*/ 1131122 h 4210806"/>
                  <a:gd name="connsiteX43" fmla="*/ 913729 w 4224883"/>
                  <a:gd name="connsiteY43" fmla="*/ 683123 h 4210806"/>
                  <a:gd name="connsiteX44" fmla="*/ 934290 w 4224883"/>
                  <a:gd name="connsiteY44" fmla="*/ 667748 h 4210806"/>
                  <a:gd name="connsiteX45" fmla="*/ 801376 w 4224883"/>
                  <a:gd name="connsiteY45" fmla="*/ 413509 h 4210806"/>
                  <a:gd name="connsiteX46" fmla="*/ 1417336 w 4224883"/>
                  <a:gd name="connsiteY46" fmla="*/ 91489 h 4210806"/>
                  <a:gd name="connsiteX47" fmla="*/ 1548443 w 4224883"/>
                  <a:gd name="connsiteY47" fmla="*/ 342270 h 4210806"/>
                  <a:gd name="connsiteX48" fmla="*/ 1715401 w 4224883"/>
                  <a:gd name="connsiteY48" fmla="*/ 299341 h 4210806"/>
                  <a:gd name="connsiteX49" fmla="*/ 2087192 w 4224883"/>
                  <a:gd name="connsiteY49" fmla="*/ 261861 h 4210806"/>
                  <a:gd name="connsiteX50" fmla="*/ 2275812 w 4224883"/>
                  <a:gd name="connsiteY50" fmla="*/ 271386 h 4210806"/>
                  <a:gd name="connsiteX51" fmla="*/ 2312708 w 4224883"/>
                  <a:gd name="connsiteY51" fmla="*/ 277017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779302 w 4224883"/>
                  <a:gd name="connsiteY26" fmla="*/ 4210806 h 4210806"/>
                  <a:gd name="connsiteX27" fmla="*/ 1167066 w 4224883"/>
                  <a:gd name="connsiteY27" fmla="*/ 4055952 h 4210806"/>
                  <a:gd name="connsiteX28" fmla="*/ 1245256 w 4224883"/>
                  <a:gd name="connsiteY28" fmla="*/ 3746819 h 4210806"/>
                  <a:gd name="connsiteX29" fmla="*/ 1207852 w 4224883"/>
                  <a:gd name="connsiteY29" fmla="*/ 3728800 h 4210806"/>
                  <a:gd name="connsiteX30" fmla="*/ 782723 w 4224883"/>
                  <a:gd name="connsiteY30" fmla="*/ 3411129 h 4210806"/>
                  <a:gd name="connsiteX31" fmla="*/ 668756 w 4224883"/>
                  <a:gd name="connsiteY31" fmla="*/ 3285733 h 4210806"/>
                  <a:gd name="connsiteX32" fmla="*/ 445204 w 4224883"/>
                  <a:gd name="connsiteY32" fmla="*/ 3415032 h 4210806"/>
                  <a:gd name="connsiteX33" fmla="*/ 92007 w 4224883"/>
                  <a:gd name="connsiteY33" fmla="*/ 2804367 h 4210806"/>
                  <a:gd name="connsiteX34" fmla="*/ 329613 w 4224883"/>
                  <a:gd name="connsiteY34" fmla="*/ 2666940 h 4210806"/>
                  <a:gd name="connsiteX35" fmla="*/ 325333 w 4224883"/>
                  <a:gd name="connsiteY35" fmla="*/ 2655246 h 4210806"/>
                  <a:gd name="connsiteX36" fmla="*/ 242395 w 4224883"/>
                  <a:gd name="connsiteY36" fmla="*/ 2106659 h 4210806"/>
                  <a:gd name="connsiteX37" fmla="*/ 253268 w 4224883"/>
                  <a:gd name="connsiteY37" fmla="*/ 1915189 h 4210806"/>
                  <a:gd name="connsiteX38" fmla="*/ 0 w 4224883"/>
                  <a:gd name="connsiteY38" fmla="*/ 1836730 h 4210806"/>
                  <a:gd name="connsiteX39" fmla="*/ 205679 w 4224883"/>
                  <a:gd name="connsiteY39" fmla="*/ 1172801 h 4210806"/>
                  <a:gd name="connsiteX40" fmla="*/ 455529 w 4224883"/>
                  <a:gd name="connsiteY40" fmla="*/ 1250203 h 4210806"/>
                  <a:gd name="connsiteX41" fmla="*/ 521138 w 4224883"/>
                  <a:gd name="connsiteY41" fmla="*/ 1131122 h 4210806"/>
                  <a:gd name="connsiteX42" fmla="*/ 913729 w 4224883"/>
                  <a:gd name="connsiteY42" fmla="*/ 683123 h 4210806"/>
                  <a:gd name="connsiteX43" fmla="*/ 934290 w 4224883"/>
                  <a:gd name="connsiteY43" fmla="*/ 667748 h 4210806"/>
                  <a:gd name="connsiteX44" fmla="*/ 801376 w 4224883"/>
                  <a:gd name="connsiteY44" fmla="*/ 413509 h 4210806"/>
                  <a:gd name="connsiteX45" fmla="*/ 1417336 w 4224883"/>
                  <a:gd name="connsiteY45" fmla="*/ 91489 h 4210806"/>
                  <a:gd name="connsiteX46" fmla="*/ 1548443 w 4224883"/>
                  <a:gd name="connsiteY46" fmla="*/ 342270 h 4210806"/>
                  <a:gd name="connsiteX47" fmla="*/ 1715401 w 4224883"/>
                  <a:gd name="connsiteY47" fmla="*/ 299341 h 4210806"/>
                  <a:gd name="connsiteX48" fmla="*/ 2087192 w 4224883"/>
                  <a:gd name="connsiteY48" fmla="*/ 261861 h 4210806"/>
                  <a:gd name="connsiteX49" fmla="*/ 2275812 w 4224883"/>
                  <a:gd name="connsiteY49" fmla="*/ 271386 h 4210806"/>
                  <a:gd name="connsiteX50" fmla="*/ 2312708 w 4224883"/>
                  <a:gd name="connsiteY50" fmla="*/ 277017 h 4210806"/>
                  <a:gd name="connsiteX51" fmla="*/ 2377544 w 4224883"/>
                  <a:gd name="connsiteY51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779302 w 4224883"/>
                  <a:gd name="connsiteY25" fmla="*/ 4210806 h 4210806"/>
                  <a:gd name="connsiteX26" fmla="*/ 1167066 w 4224883"/>
                  <a:gd name="connsiteY26" fmla="*/ 4055952 h 4210806"/>
                  <a:gd name="connsiteX27" fmla="*/ 1245256 w 4224883"/>
                  <a:gd name="connsiteY27" fmla="*/ 3746819 h 4210806"/>
                  <a:gd name="connsiteX28" fmla="*/ 1207852 w 4224883"/>
                  <a:gd name="connsiteY28" fmla="*/ 3728800 h 4210806"/>
                  <a:gd name="connsiteX29" fmla="*/ 782723 w 4224883"/>
                  <a:gd name="connsiteY29" fmla="*/ 3411129 h 4210806"/>
                  <a:gd name="connsiteX30" fmla="*/ 668756 w 4224883"/>
                  <a:gd name="connsiteY30" fmla="*/ 3285733 h 4210806"/>
                  <a:gd name="connsiteX31" fmla="*/ 445204 w 4224883"/>
                  <a:gd name="connsiteY31" fmla="*/ 3415032 h 4210806"/>
                  <a:gd name="connsiteX32" fmla="*/ 92007 w 4224883"/>
                  <a:gd name="connsiteY32" fmla="*/ 2804367 h 4210806"/>
                  <a:gd name="connsiteX33" fmla="*/ 329613 w 4224883"/>
                  <a:gd name="connsiteY33" fmla="*/ 2666940 h 4210806"/>
                  <a:gd name="connsiteX34" fmla="*/ 325333 w 4224883"/>
                  <a:gd name="connsiteY34" fmla="*/ 2655246 h 4210806"/>
                  <a:gd name="connsiteX35" fmla="*/ 242395 w 4224883"/>
                  <a:gd name="connsiteY35" fmla="*/ 2106659 h 4210806"/>
                  <a:gd name="connsiteX36" fmla="*/ 253268 w 4224883"/>
                  <a:gd name="connsiteY36" fmla="*/ 1915189 h 4210806"/>
                  <a:gd name="connsiteX37" fmla="*/ 0 w 4224883"/>
                  <a:gd name="connsiteY37" fmla="*/ 1836730 h 4210806"/>
                  <a:gd name="connsiteX38" fmla="*/ 205679 w 4224883"/>
                  <a:gd name="connsiteY38" fmla="*/ 1172801 h 4210806"/>
                  <a:gd name="connsiteX39" fmla="*/ 455529 w 4224883"/>
                  <a:gd name="connsiteY39" fmla="*/ 1250203 h 4210806"/>
                  <a:gd name="connsiteX40" fmla="*/ 521138 w 4224883"/>
                  <a:gd name="connsiteY40" fmla="*/ 1131122 h 4210806"/>
                  <a:gd name="connsiteX41" fmla="*/ 913729 w 4224883"/>
                  <a:gd name="connsiteY41" fmla="*/ 683123 h 4210806"/>
                  <a:gd name="connsiteX42" fmla="*/ 934290 w 4224883"/>
                  <a:gd name="connsiteY42" fmla="*/ 667748 h 4210806"/>
                  <a:gd name="connsiteX43" fmla="*/ 801376 w 4224883"/>
                  <a:gd name="connsiteY43" fmla="*/ 413509 h 4210806"/>
                  <a:gd name="connsiteX44" fmla="*/ 1417336 w 4224883"/>
                  <a:gd name="connsiteY44" fmla="*/ 91489 h 4210806"/>
                  <a:gd name="connsiteX45" fmla="*/ 1548443 w 4224883"/>
                  <a:gd name="connsiteY45" fmla="*/ 342270 h 4210806"/>
                  <a:gd name="connsiteX46" fmla="*/ 1715401 w 4224883"/>
                  <a:gd name="connsiteY46" fmla="*/ 299341 h 4210806"/>
                  <a:gd name="connsiteX47" fmla="*/ 2087192 w 4224883"/>
                  <a:gd name="connsiteY47" fmla="*/ 261861 h 4210806"/>
                  <a:gd name="connsiteX48" fmla="*/ 2275812 w 4224883"/>
                  <a:gd name="connsiteY48" fmla="*/ 271386 h 4210806"/>
                  <a:gd name="connsiteX49" fmla="*/ 2312708 w 4224883"/>
                  <a:gd name="connsiteY49" fmla="*/ 277017 h 4210806"/>
                  <a:gd name="connsiteX50" fmla="*/ 2377544 w 4224883"/>
                  <a:gd name="connsiteY50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423364 w 4224883"/>
                  <a:gd name="connsiteY17" fmla="*/ 2871009 h 4210806"/>
                  <a:gd name="connsiteX18" fmla="*/ 3429598 w 4224883"/>
                  <a:gd name="connsiteY18" fmla="*/ 2861155 h 4210806"/>
                  <a:gd name="connsiteX19" fmla="*/ 3630757 w 4224883"/>
                  <a:gd name="connsiteY19" fmla="*/ 2105403 h 4210806"/>
                  <a:gd name="connsiteX20" fmla="*/ 2112441 w 4224883"/>
                  <a:gd name="connsiteY20" fmla="*/ 587088 h 4210806"/>
                  <a:gd name="connsiteX21" fmla="*/ 594125 w 4224883"/>
                  <a:gd name="connsiteY21" fmla="*/ 2105403 h 4210806"/>
                  <a:gd name="connsiteX22" fmla="*/ 1806447 w 4224883"/>
                  <a:gd name="connsiteY22" fmla="*/ 3592872 h 4210806"/>
                  <a:gd name="connsiteX23" fmla="*/ 1845599 w 4224883"/>
                  <a:gd name="connsiteY23" fmla="*/ 3598847 h 4210806"/>
                  <a:gd name="connsiteX24" fmla="*/ 1779302 w 4224883"/>
                  <a:gd name="connsiteY24" fmla="*/ 4210806 h 4210806"/>
                  <a:gd name="connsiteX25" fmla="*/ 1167066 w 4224883"/>
                  <a:gd name="connsiteY25" fmla="*/ 4055952 h 4210806"/>
                  <a:gd name="connsiteX26" fmla="*/ 1245256 w 4224883"/>
                  <a:gd name="connsiteY26" fmla="*/ 3746819 h 4210806"/>
                  <a:gd name="connsiteX27" fmla="*/ 1207852 w 4224883"/>
                  <a:gd name="connsiteY27" fmla="*/ 3728800 h 4210806"/>
                  <a:gd name="connsiteX28" fmla="*/ 782723 w 4224883"/>
                  <a:gd name="connsiteY28" fmla="*/ 3411129 h 4210806"/>
                  <a:gd name="connsiteX29" fmla="*/ 668756 w 4224883"/>
                  <a:gd name="connsiteY29" fmla="*/ 3285733 h 4210806"/>
                  <a:gd name="connsiteX30" fmla="*/ 445204 w 4224883"/>
                  <a:gd name="connsiteY30" fmla="*/ 3415032 h 4210806"/>
                  <a:gd name="connsiteX31" fmla="*/ 92007 w 4224883"/>
                  <a:gd name="connsiteY31" fmla="*/ 2804367 h 4210806"/>
                  <a:gd name="connsiteX32" fmla="*/ 329613 w 4224883"/>
                  <a:gd name="connsiteY32" fmla="*/ 2666940 h 4210806"/>
                  <a:gd name="connsiteX33" fmla="*/ 325333 w 4224883"/>
                  <a:gd name="connsiteY33" fmla="*/ 2655246 h 4210806"/>
                  <a:gd name="connsiteX34" fmla="*/ 242395 w 4224883"/>
                  <a:gd name="connsiteY34" fmla="*/ 2106659 h 4210806"/>
                  <a:gd name="connsiteX35" fmla="*/ 253268 w 4224883"/>
                  <a:gd name="connsiteY35" fmla="*/ 1915189 h 4210806"/>
                  <a:gd name="connsiteX36" fmla="*/ 0 w 4224883"/>
                  <a:gd name="connsiteY36" fmla="*/ 1836730 h 4210806"/>
                  <a:gd name="connsiteX37" fmla="*/ 205679 w 4224883"/>
                  <a:gd name="connsiteY37" fmla="*/ 1172801 h 4210806"/>
                  <a:gd name="connsiteX38" fmla="*/ 455529 w 4224883"/>
                  <a:gd name="connsiteY38" fmla="*/ 1250203 h 4210806"/>
                  <a:gd name="connsiteX39" fmla="*/ 521138 w 4224883"/>
                  <a:gd name="connsiteY39" fmla="*/ 1131122 h 4210806"/>
                  <a:gd name="connsiteX40" fmla="*/ 913729 w 4224883"/>
                  <a:gd name="connsiteY40" fmla="*/ 683123 h 4210806"/>
                  <a:gd name="connsiteX41" fmla="*/ 934290 w 4224883"/>
                  <a:gd name="connsiteY41" fmla="*/ 667748 h 4210806"/>
                  <a:gd name="connsiteX42" fmla="*/ 801376 w 4224883"/>
                  <a:gd name="connsiteY42" fmla="*/ 413509 h 4210806"/>
                  <a:gd name="connsiteX43" fmla="*/ 1417336 w 4224883"/>
                  <a:gd name="connsiteY43" fmla="*/ 91489 h 4210806"/>
                  <a:gd name="connsiteX44" fmla="*/ 1548443 w 4224883"/>
                  <a:gd name="connsiteY44" fmla="*/ 342270 h 4210806"/>
                  <a:gd name="connsiteX45" fmla="*/ 1715401 w 4224883"/>
                  <a:gd name="connsiteY45" fmla="*/ 299341 h 4210806"/>
                  <a:gd name="connsiteX46" fmla="*/ 2087192 w 4224883"/>
                  <a:gd name="connsiteY46" fmla="*/ 261861 h 4210806"/>
                  <a:gd name="connsiteX47" fmla="*/ 2275812 w 4224883"/>
                  <a:gd name="connsiteY47" fmla="*/ 271386 h 4210806"/>
                  <a:gd name="connsiteX48" fmla="*/ 2312708 w 4224883"/>
                  <a:gd name="connsiteY48" fmla="*/ 277017 h 4210806"/>
                  <a:gd name="connsiteX49" fmla="*/ 2377544 w 4224883"/>
                  <a:gd name="connsiteY49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423364 w 4224883"/>
                  <a:gd name="connsiteY16" fmla="*/ 2871009 h 4210806"/>
                  <a:gd name="connsiteX17" fmla="*/ 3429598 w 4224883"/>
                  <a:gd name="connsiteY17" fmla="*/ 2861155 h 4210806"/>
                  <a:gd name="connsiteX18" fmla="*/ 3630757 w 4224883"/>
                  <a:gd name="connsiteY18" fmla="*/ 2105403 h 4210806"/>
                  <a:gd name="connsiteX19" fmla="*/ 2112441 w 4224883"/>
                  <a:gd name="connsiteY19" fmla="*/ 587088 h 4210806"/>
                  <a:gd name="connsiteX20" fmla="*/ 594125 w 4224883"/>
                  <a:gd name="connsiteY20" fmla="*/ 2105403 h 4210806"/>
                  <a:gd name="connsiteX21" fmla="*/ 1806447 w 4224883"/>
                  <a:gd name="connsiteY21" fmla="*/ 3592872 h 4210806"/>
                  <a:gd name="connsiteX22" fmla="*/ 1845599 w 4224883"/>
                  <a:gd name="connsiteY22" fmla="*/ 3598847 h 4210806"/>
                  <a:gd name="connsiteX23" fmla="*/ 1779302 w 4224883"/>
                  <a:gd name="connsiteY23" fmla="*/ 4210806 h 4210806"/>
                  <a:gd name="connsiteX24" fmla="*/ 1167066 w 4224883"/>
                  <a:gd name="connsiteY24" fmla="*/ 4055952 h 4210806"/>
                  <a:gd name="connsiteX25" fmla="*/ 1245256 w 4224883"/>
                  <a:gd name="connsiteY25" fmla="*/ 3746819 h 4210806"/>
                  <a:gd name="connsiteX26" fmla="*/ 1207852 w 4224883"/>
                  <a:gd name="connsiteY26" fmla="*/ 3728800 h 4210806"/>
                  <a:gd name="connsiteX27" fmla="*/ 782723 w 4224883"/>
                  <a:gd name="connsiteY27" fmla="*/ 3411129 h 4210806"/>
                  <a:gd name="connsiteX28" fmla="*/ 668756 w 4224883"/>
                  <a:gd name="connsiteY28" fmla="*/ 3285733 h 4210806"/>
                  <a:gd name="connsiteX29" fmla="*/ 445204 w 4224883"/>
                  <a:gd name="connsiteY29" fmla="*/ 3415032 h 4210806"/>
                  <a:gd name="connsiteX30" fmla="*/ 92007 w 4224883"/>
                  <a:gd name="connsiteY30" fmla="*/ 2804367 h 4210806"/>
                  <a:gd name="connsiteX31" fmla="*/ 329613 w 4224883"/>
                  <a:gd name="connsiteY31" fmla="*/ 2666940 h 4210806"/>
                  <a:gd name="connsiteX32" fmla="*/ 325333 w 4224883"/>
                  <a:gd name="connsiteY32" fmla="*/ 2655246 h 4210806"/>
                  <a:gd name="connsiteX33" fmla="*/ 242395 w 4224883"/>
                  <a:gd name="connsiteY33" fmla="*/ 2106659 h 4210806"/>
                  <a:gd name="connsiteX34" fmla="*/ 253268 w 4224883"/>
                  <a:gd name="connsiteY34" fmla="*/ 1915189 h 4210806"/>
                  <a:gd name="connsiteX35" fmla="*/ 0 w 4224883"/>
                  <a:gd name="connsiteY35" fmla="*/ 1836730 h 4210806"/>
                  <a:gd name="connsiteX36" fmla="*/ 205679 w 4224883"/>
                  <a:gd name="connsiteY36" fmla="*/ 1172801 h 4210806"/>
                  <a:gd name="connsiteX37" fmla="*/ 455529 w 4224883"/>
                  <a:gd name="connsiteY37" fmla="*/ 1250203 h 4210806"/>
                  <a:gd name="connsiteX38" fmla="*/ 521138 w 4224883"/>
                  <a:gd name="connsiteY38" fmla="*/ 1131122 h 4210806"/>
                  <a:gd name="connsiteX39" fmla="*/ 913729 w 4224883"/>
                  <a:gd name="connsiteY39" fmla="*/ 683123 h 4210806"/>
                  <a:gd name="connsiteX40" fmla="*/ 934290 w 4224883"/>
                  <a:gd name="connsiteY40" fmla="*/ 667748 h 4210806"/>
                  <a:gd name="connsiteX41" fmla="*/ 801376 w 4224883"/>
                  <a:gd name="connsiteY41" fmla="*/ 413509 h 4210806"/>
                  <a:gd name="connsiteX42" fmla="*/ 1417336 w 4224883"/>
                  <a:gd name="connsiteY42" fmla="*/ 91489 h 4210806"/>
                  <a:gd name="connsiteX43" fmla="*/ 1548443 w 4224883"/>
                  <a:gd name="connsiteY43" fmla="*/ 342270 h 4210806"/>
                  <a:gd name="connsiteX44" fmla="*/ 1715401 w 4224883"/>
                  <a:gd name="connsiteY44" fmla="*/ 299341 h 4210806"/>
                  <a:gd name="connsiteX45" fmla="*/ 2087192 w 4224883"/>
                  <a:gd name="connsiteY45" fmla="*/ 261861 h 4210806"/>
                  <a:gd name="connsiteX46" fmla="*/ 2275812 w 4224883"/>
                  <a:gd name="connsiteY46" fmla="*/ 271386 h 4210806"/>
                  <a:gd name="connsiteX47" fmla="*/ 2312708 w 4224883"/>
                  <a:gd name="connsiteY47" fmla="*/ 277017 h 4210806"/>
                  <a:gd name="connsiteX48" fmla="*/ 2377544 w 4224883"/>
                  <a:gd name="connsiteY48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423364 w 4224883"/>
                  <a:gd name="connsiteY15" fmla="*/ 2871009 h 4210806"/>
                  <a:gd name="connsiteX16" fmla="*/ 3429598 w 4224883"/>
                  <a:gd name="connsiteY16" fmla="*/ 2861155 h 4210806"/>
                  <a:gd name="connsiteX17" fmla="*/ 3630757 w 4224883"/>
                  <a:gd name="connsiteY17" fmla="*/ 2105403 h 4210806"/>
                  <a:gd name="connsiteX18" fmla="*/ 2112441 w 4224883"/>
                  <a:gd name="connsiteY18" fmla="*/ 587088 h 4210806"/>
                  <a:gd name="connsiteX19" fmla="*/ 594125 w 4224883"/>
                  <a:gd name="connsiteY19" fmla="*/ 2105403 h 4210806"/>
                  <a:gd name="connsiteX20" fmla="*/ 1806447 w 4224883"/>
                  <a:gd name="connsiteY20" fmla="*/ 3592872 h 4210806"/>
                  <a:gd name="connsiteX21" fmla="*/ 1845599 w 4224883"/>
                  <a:gd name="connsiteY21" fmla="*/ 3598847 h 4210806"/>
                  <a:gd name="connsiteX22" fmla="*/ 1779302 w 4224883"/>
                  <a:gd name="connsiteY22" fmla="*/ 4210806 h 4210806"/>
                  <a:gd name="connsiteX23" fmla="*/ 1167066 w 4224883"/>
                  <a:gd name="connsiteY23" fmla="*/ 4055952 h 4210806"/>
                  <a:gd name="connsiteX24" fmla="*/ 1245256 w 4224883"/>
                  <a:gd name="connsiteY24" fmla="*/ 3746819 h 4210806"/>
                  <a:gd name="connsiteX25" fmla="*/ 1207852 w 4224883"/>
                  <a:gd name="connsiteY25" fmla="*/ 3728800 h 4210806"/>
                  <a:gd name="connsiteX26" fmla="*/ 782723 w 4224883"/>
                  <a:gd name="connsiteY26" fmla="*/ 3411129 h 4210806"/>
                  <a:gd name="connsiteX27" fmla="*/ 668756 w 4224883"/>
                  <a:gd name="connsiteY27" fmla="*/ 3285733 h 4210806"/>
                  <a:gd name="connsiteX28" fmla="*/ 445204 w 4224883"/>
                  <a:gd name="connsiteY28" fmla="*/ 3415032 h 4210806"/>
                  <a:gd name="connsiteX29" fmla="*/ 92007 w 4224883"/>
                  <a:gd name="connsiteY29" fmla="*/ 2804367 h 4210806"/>
                  <a:gd name="connsiteX30" fmla="*/ 329613 w 4224883"/>
                  <a:gd name="connsiteY30" fmla="*/ 2666940 h 4210806"/>
                  <a:gd name="connsiteX31" fmla="*/ 325333 w 4224883"/>
                  <a:gd name="connsiteY31" fmla="*/ 2655246 h 4210806"/>
                  <a:gd name="connsiteX32" fmla="*/ 242395 w 4224883"/>
                  <a:gd name="connsiteY32" fmla="*/ 2106659 h 4210806"/>
                  <a:gd name="connsiteX33" fmla="*/ 253268 w 4224883"/>
                  <a:gd name="connsiteY33" fmla="*/ 1915189 h 4210806"/>
                  <a:gd name="connsiteX34" fmla="*/ 0 w 4224883"/>
                  <a:gd name="connsiteY34" fmla="*/ 1836730 h 4210806"/>
                  <a:gd name="connsiteX35" fmla="*/ 205679 w 4224883"/>
                  <a:gd name="connsiteY35" fmla="*/ 1172801 h 4210806"/>
                  <a:gd name="connsiteX36" fmla="*/ 455529 w 4224883"/>
                  <a:gd name="connsiteY36" fmla="*/ 1250203 h 4210806"/>
                  <a:gd name="connsiteX37" fmla="*/ 521138 w 4224883"/>
                  <a:gd name="connsiteY37" fmla="*/ 1131122 h 4210806"/>
                  <a:gd name="connsiteX38" fmla="*/ 913729 w 4224883"/>
                  <a:gd name="connsiteY38" fmla="*/ 683123 h 4210806"/>
                  <a:gd name="connsiteX39" fmla="*/ 934290 w 4224883"/>
                  <a:gd name="connsiteY39" fmla="*/ 667748 h 4210806"/>
                  <a:gd name="connsiteX40" fmla="*/ 801376 w 4224883"/>
                  <a:gd name="connsiteY40" fmla="*/ 413509 h 4210806"/>
                  <a:gd name="connsiteX41" fmla="*/ 1417336 w 4224883"/>
                  <a:gd name="connsiteY41" fmla="*/ 91489 h 4210806"/>
                  <a:gd name="connsiteX42" fmla="*/ 1548443 w 4224883"/>
                  <a:gd name="connsiteY42" fmla="*/ 342270 h 4210806"/>
                  <a:gd name="connsiteX43" fmla="*/ 1715401 w 4224883"/>
                  <a:gd name="connsiteY43" fmla="*/ 299341 h 4210806"/>
                  <a:gd name="connsiteX44" fmla="*/ 2087192 w 4224883"/>
                  <a:gd name="connsiteY44" fmla="*/ 261861 h 4210806"/>
                  <a:gd name="connsiteX45" fmla="*/ 2275812 w 4224883"/>
                  <a:gd name="connsiteY45" fmla="*/ 271386 h 4210806"/>
                  <a:gd name="connsiteX46" fmla="*/ 2312708 w 4224883"/>
                  <a:gd name="connsiteY46" fmla="*/ 277017 h 4210806"/>
                  <a:gd name="connsiteX47" fmla="*/ 2377544 w 4224883"/>
                  <a:gd name="connsiteY47" fmla="*/ 0 h 421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224883" h="4210806">
                    <a:moveTo>
                      <a:pt x="2377544" y="0"/>
                    </a:moveTo>
                    <a:lnTo>
                      <a:pt x="3054312" y="158399"/>
                    </a:lnTo>
                    <a:lnTo>
                      <a:pt x="2976557" y="490609"/>
                    </a:lnTo>
                    <a:lnTo>
                      <a:pt x="3118636" y="576924"/>
                    </a:lnTo>
                    <a:cubicBezTo>
                      <a:pt x="3241316" y="659804"/>
                      <a:pt x="3353491" y="757054"/>
                      <a:pt x="3452745" y="866259"/>
                    </a:cubicBezTo>
                    <a:lnTo>
                      <a:pt x="3537652" y="971694"/>
                    </a:lnTo>
                    <a:lnTo>
                      <a:pt x="3814027" y="819215"/>
                    </a:lnTo>
                    <a:lnTo>
                      <a:pt x="4149788" y="1427794"/>
                    </a:lnTo>
                    <a:lnTo>
                      <a:pt x="3855855" y="1589961"/>
                    </a:lnTo>
                    <a:lnTo>
                      <a:pt x="3873911" y="1645615"/>
                    </a:lnTo>
                    <a:cubicBezTo>
                      <a:pt x="3911826" y="1792977"/>
                      <a:pt x="3931990" y="1947463"/>
                      <a:pt x="3931990" y="2106659"/>
                    </a:cubicBezTo>
                    <a:cubicBezTo>
                      <a:pt x="3931990" y="2170338"/>
                      <a:pt x="3928764" y="2233262"/>
                      <a:pt x="3922466" y="2295279"/>
                    </a:cubicBezTo>
                    <a:lnTo>
                      <a:pt x="3921773" y="2299816"/>
                    </a:lnTo>
                    <a:lnTo>
                      <a:pt x="4224883" y="2379220"/>
                    </a:lnTo>
                    <a:lnTo>
                      <a:pt x="4046112" y="3061643"/>
                    </a:lnTo>
                    <a:lnTo>
                      <a:pt x="3423364" y="2871009"/>
                    </a:lnTo>
                    <a:lnTo>
                      <a:pt x="3429598" y="2861155"/>
                    </a:lnTo>
                    <a:cubicBezTo>
                      <a:pt x="3557569" y="2638602"/>
                      <a:pt x="3630757" y="2380550"/>
                      <a:pt x="3630757" y="2105403"/>
                    </a:cubicBezTo>
                    <a:cubicBezTo>
                      <a:pt x="3630757" y="1266861"/>
                      <a:pt x="2950984" y="587088"/>
                      <a:pt x="2112441" y="587088"/>
                    </a:cubicBezTo>
                    <a:cubicBezTo>
                      <a:pt x="1273898" y="587088"/>
                      <a:pt x="594125" y="1266861"/>
                      <a:pt x="594125" y="2105403"/>
                    </a:cubicBezTo>
                    <a:cubicBezTo>
                      <a:pt x="594125" y="2839127"/>
                      <a:pt x="1114576" y="3451294"/>
                      <a:pt x="1806447" y="3592872"/>
                    </a:cubicBezTo>
                    <a:lnTo>
                      <a:pt x="1845599" y="3598847"/>
                    </a:lnTo>
                    <a:lnTo>
                      <a:pt x="1779302" y="4210806"/>
                    </a:lnTo>
                    <a:lnTo>
                      <a:pt x="1167066" y="4055952"/>
                    </a:lnTo>
                    <a:lnTo>
                      <a:pt x="1245256" y="3746819"/>
                    </a:lnTo>
                    <a:lnTo>
                      <a:pt x="1207852" y="3728800"/>
                    </a:lnTo>
                    <a:cubicBezTo>
                      <a:pt x="1051015" y="3643601"/>
                      <a:pt x="907914" y="3536320"/>
                      <a:pt x="782723" y="3411129"/>
                    </a:cubicBezTo>
                    <a:lnTo>
                      <a:pt x="668756" y="3285733"/>
                    </a:lnTo>
                    <a:lnTo>
                      <a:pt x="445204" y="3415032"/>
                    </a:lnTo>
                    <a:lnTo>
                      <a:pt x="92007" y="2804367"/>
                    </a:lnTo>
                    <a:lnTo>
                      <a:pt x="329613" y="2666940"/>
                    </a:lnTo>
                    <a:lnTo>
                      <a:pt x="325333" y="2655246"/>
                    </a:lnTo>
                    <a:cubicBezTo>
                      <a:pt x="271432" y="2481947"/>
                      <a:pt x="242395" y="2297694"/>
                      <a:pt x="242395" y="2106659"/>
                    </a:cubicBezTo>
                    <a:lnTo>
                      <a:pt x="253268" y="1915189"/>
                    </a:lnTo>
                    <a:lnTo>
                      <a:pt x="0" y="1836730"/>
                    </a:lnTo>
                    <a:lnTo>
                      <a:pt x="205679" y="1172801"/>
                    </a:lnTo>
                    <a:lnTo>
                      <a:pt x="455529" y="1250203"/>
                    </a:lnTo>
                    <a:lnTo>
                      <a:pt x="521138" y="1131122"/>
                    </a:lnTo>
                    <a:cubicBezTo>
                      <a:pt x="627135" y="961323"/>
                      <a:pt x="759979" y="810010"/>
                      <a:pt x="913729" y="683123"/>
                    </a:cubicBezTo>
                    <a:lnTo>
                      <a:pt x="934290" y="667748"/>
                    </a:lnTo>
                    <a:lnTo>
                      <a:pt x="801376" y="413509"/>
                    </a:lnTo>
                    <a:lnTo>
                      <a:pt x="1417336" y="91489"/>
                    </a:lnTo>
                    <a:lnTo>
                      <a:pt x="1548443" y="342270"/>
                    </a:lnTo>
                    <a:lnTo>
                      <a:pt x="1715401" y="299341"/>
                    </a:lnTo>
                    <a:cubicBezTo>
                      <a:pt x="1835493" y="274767"/>
                      <a:pt x="1959835" y="261861"/>
                      <a:pt x="2087192" y="261861"/>
                    </a:cubicBezTo>
                    <a:cubicBezTo>
                      <a:pt x="2150870" y="261861"/>
                      <a:pt x="2213795" y="265088"/>
                      <a:pt x="2275812" y="271386"/>
                    </a:cubicBezTo>
                    <a:lnTo>
                      <a:pt x="2312708" y="277017"/>
                    </a:lnTo>
                    <a:lnTo>
                      <a:pt x="2377544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solidFill>
                      <a:prstClr val="white"/>
                    </a:solidFill>
                  </a:rPr>
                  <a:t>   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FBF1A5EE-3332-4939-AC2A-BCC9FD9429EF}"/>
                  </a:ext>
                </a:extLst>
              </p:cNvPr>
              <p:cNvGrpSpPr/>
              <p:nvPr/>
            </p:nvGrpSpPr>
            <p:grpSpPr>
              <a:xfrm>
                <a:off x="3641005" y="2616195"/>
                <a:ext cx="2243802" cy="3314589"/>
                <a:chOff x="3641006" y="2616196"/>
                <a:chExt cx="2243805" cy="3314589"/>
              </a:xfrm>
              <a:grpFill/>
            </p:grpSpPr>
            <p:sp>
              <p:nvSpPr>
                <p:cNvPr id="50" name="Rectangle 6">
                  <a:extLst>
                    <a:ext uri="{FF2B5EF4-FFF2-40B4-BE49-F238E27FC236}">
                      <a16:creationId xmlns:a16="http://schemas.microsoft.com/office/drawing/2014/main" id="{5C192C9E-1FCE-495A-B77B-8244E9C0071A}"/>
                    </a:ext>
                  </a:extLst>
                </p:cNvPr>
                <p:cNvSpPr/>
                <p:nvPr/>
              </p:nvSpPr>
              <p:spPr>
                <a:xfrm>
                  <a:off x="3641006" y="4053052"/>
                  <a:ext cx="2243805" cy="1877733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123825 w 800101"/>
                    <a:gd name="connsiteY0" fmla="*/ 0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23825 w 800101"/>
                    <a:gd name="connsiteY4" fmla="*/ 0 h 836089"/>
                    <a:gd name="connsiteX0" fmla="*/ 147638 w 800101"/>
                    <a:gd name="connsiteY0" fmla="*/ 7143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47638 w 800101"/>
                    <a:gd name="connsiteY4" fmla="*/ 71438 h 836089"/>
                    <a:gd name="connsiteX0" fmla="*/ 104775 w 800101"/>
                    <a:gd name="connsiteY0" fmla="*/ 1428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04775 w 800101"/>
                    <a:gd name="connsiteY4" fmla="*/ 14288 h 836089"/>
                    <a:gd name="connsiteX0" fmla="*/ 104775 w 1319213"/>
                    <a:gd name="connsiteY0" fmla="*/ 0 h 821801"/>
                    <a:gd name="connsiteX1" fmla="*/ 1319213 w 1319213"/>
                    <a:gd name="connsiteY1" fmla="*/ 4762 h 821801"/>
                    <a:gd name="connsiteX2" fmla="*/ 800101 w 1319213"/>
                    <a:gd name="connsiteY2" fmla="*/ 569388 h 821801"/>
                    <a:gd name="connsiteX3" fmla="*/ 0 w 1319213"/>
                    <a:gd name="connsiteY3" fmla="*/ 821801 h 821801"/>
                    <a:gd name="connsiteX4" fmla="*/ 104775 w 1319213"/>
                    <a:gd name="connsiteY4" fmla="*/ 0 h 821801"/>
                    <a:gd name="connsiteX0" fmla="*/ 104775 w 1443038"/>
                    <a:gd name="connsiteY0" fmla="*/ 0 h 850376"/>
                    <a:gd name="connsiteX1" fmla="*/ 1319213 w 1443038"/>
                    <a:gd name="connsiteY1" fmla="*/ 4762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04775 w 1443038"/>
                    <a:gd name="connsiteY0" fmla="*/ 0 h 850376"/>
                    <a:gd name="connsiteX1" fmla="*/ 1328738 w 1443038"/>
                    <a:gd name="connsiteY1" fmla="*/ 9525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16681 w 1443038"/>
                    <a:gd name="connsiteY0" fmla="*/ 0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16681 w 1443038"/>
                    <a:gd name="connsiteY4" fmla="*/ 0 h 840851"/>
                    <a:gd name="connsiteX0" fmla="*/ 166687 w 1443038"/>
                    <a:gd name="connsiteY0" fmla="*/ 35719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66687 w 1443038"/>
                    <a:gd name="connsiteY4" fmla="*/ 35719 h 840851"/>
                    <a:gd name="connsiteX0" fmla="*/ 109537 w 1443038"/>
                    <a:gd name="connsiteY0" fmla="*/ 0 h 847994"/>
                    <a:gd name="connsiteX1" fmla="*/ 1328738 w 1443038"/>
                    <a:gd name="connsiteY1" fmla="*/ 7143 h 847994"/>
                    <a:gd name="connsiteX2" fmla="*/ 1443038 w 1443038"/>
                    <a:gd name="connsiteY2" fmla="*/ 847994 h 847994"/>
                    <a:gd name="connsiteX3" fmla="*/ 0 w 1443038"/>
                    <a:gd name="connsiteY3" fmla="*/ 819419 h 847994"/>
                    <a:gd name="connsiteX4" fmla="*/ 109537 w 1443038"/>
                    <a:gd name="connsiteY4" fmla="*/ 0 h 847994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28738 w 1443038"/>
                    <a:gd name="connsiteY3" fmla="*/ 179857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35882 w 1443038"/>
                    <a:gd name="connsiteY3" fmla="*/ 172714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54944"/>
                    <a:gd name="connsiteY0" fmla="*/ 174845 h 1010933"/>
                    <a:gd name="connsiteX1" fmla="*/ 489698 w 1454944"/>
                    <a:gd name="connsiteY1" fmla="*/ 13411 h 1010933"/>
                    <a:gd name="connsiteX2" fmla="*/ 963567 w 1454944"/>
                    <a:gd name="connsiteY2" fmla="*/ 8649 h 1010933"/>
                    <a:gd name="connsiteX3" fmla="*/ 1335882 w 1454944"/>
                    <a:gd name="connsiteY3" fmla="*/ 174845 h 1010933"/>
                    <a:gd name="connsiteX4" fmla="*/ 1454944 w 1454944"/>
                    <a:gd name="connsiteY4" fmla="*/ 1010933 h 1010933"/>
                    <a:gd name="connsiteX5" fmla="*/ 0 w 1454944"/>
                    <a:gd name="connsiteY5" fmla="*/ 994264 h 1010933"/>
                    <a:gd name="connsiteX6" fmla="*/ 109537 w 1454944"/>
                    <a:gd name="connsiteY6" fmla="*/ 174845 h 1010933"/>
                    <a:gd name="connsiteX0" fmla="*/ 114300 w 1459707"/>
                    <a:gd name="connsiteY0" fmla="*/ 174845 h 1010933"/>
                    <a:gd name="connsiteX1" fmla="*/ 494461 w 1459707"/>
                    <a:gd name="connsiteY1" fmla="*/ 13411 h 1010933"/>
                    <a:gd name="connsiteX2" fmla="*/ 968330 w 1459707"/>
                    <a:gd name="connsiteY2" fmla="*/ 8649 h 1010933"/>
                    <a:gd name="connsiteX3" fmla="*/ 1340645 w 1459707"/>
                    <a:gd name="connsiteY3" fmla="*/ 174845 h 1010933"/>
                    <a:gd name="connsiteX4" fmla="*/ 1459707 w 1459707"/>
                    <a:gd name="connsiteY4" fmla="*/ 1010933 h 1010933"/>
                    <a:gd name="connsiteX5" fmla="*/ 0 w 1459707"/>
                    <a:gd name="connsiteY5" fmla="*/ 994264 h 1010933"/>
                    <a:gd name="connsiteX6" fmla="*/ 114300 w 1459707"/>
                    <a:gd name="connsiteY6" fmla="*/ 174845 h 1010933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20606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1837"/>
                    <a:gd name="connsiteX1" fmla="*/ 494461 w 1459707"/>
                    <a:gd name="connsiteY1" fmla="*/ 13411 h 1151837"/>
                    <a:gd name="connsiteX2" fmla="*/ 968330 w 1459707"/>
                    <a:gd name="connsiteY2" fmla="*/ 8649 h 1151837"/>
                    <a:gd name="connsiteX3" fmla="*/ 1340645 w 1459707"/>
                    <a:gd name="connsiteY3" fmla="*/ 174845 h 1151837"/>
                    <a:gd name="connsiteX4" fmla="*/ 1459707 w 1459707"/>
                    <a:gd name="connsiteY4" fmla="*/ 1010933 h 1151837"/>
                    <a:gd name="connsiteX5" fmla="*/ 127750 w 1459707"/>
                    <a:gd name="connsiteY5" fmla="*/ 1151650 h 1151837"/>
                    <a:gd name="connsiteX6" fmla="*/ 0 w 1459707"/>
                    <a:gd name="connsiteY6" fmla="*/ 994264 h 1151837"/>
                    <a:gd name="connsiteX7" fmla="*/ 114300 w 1459707"/>
                    <a:gd name="connsiteY7" fmla="*/ 174845 h 1151837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713 w 1460120"/>
                    <a:gd name="connsiteY0" fmla="*/ 174845 h 1154215"/>
                    <a:gd name="connsiteX1" fmla="*/ 494874 w 1460120"/>
                    <a:gd name="connsiteY1" fmla="*/ 13411 h 1154215"/>
                    <a:gd name="connsiteX2" fmla="*/ 968743 w 1460120"/>
                    <a:gd name="connsiteY2" fmla="*/ 8649 h 1154215"/>
                    <a:gd name="connsiteX3" fmla="*/ 1341058 w 1460120"/>
                    <a:gd name="connsiteY3" fmla="*/ 174845 h 1154215"/>
                    <a:gd name="connsiteX4" fmla="*/ 1460120 w 1460120"/>
                    <a:gd name="connsiteY4" fmla="*/ 1010933 h 1154215"/>
                    <a:gd name="connsiteX5" fmla="*/ 130544 w 1460120"/>
                    <a:gd name="connsiteY5" fmla="*/ 1154031 h 1154215"/>
                    <a:gd name="connsiteX6" fmla="*/ 413 w 1460120"/>
                    <a:gd name="connsiteY6" fmla="*/ 994264 h 1154215"/>
                    <a:gd name="connsiteX7" fmla="*/ 114713 w 1460120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221031"/>
                    <a:gd name="connsiteX1" fmla="*/ 495186 w 1460432"/>
                    <a:gd name="connsiteY1" fmla="*/ 13411 h 1221031"/>
                    <a:gd name="connsiteX2" fmla="*/ 969055 w 1460432"/>
                    <a:gd name="connsiteY2" fmla="*/ 8649 h 1221031"/>
                    <a:gd name="connsiteX3" fmla="*/ 1341370 w 1460432"/>
                    <a:gd name="connsiteY3" fmla="*/ 174845 h 1221031"/>
                    <a:gd name="connsiteX4" fmla="*/ 1460432 w 1460432"/>
                    <a:gd name="connsiteY4" fmla="*/ 1010933 h 1221031"/>
                    <a:gd name="connsiteX5" fmla="*/ 626156 w 1460432"/>
                    <a:gd name="connsiteY5" fmla="*/ 1215943 h 1221031"/>
                    <a:gd name="connsiteX6" fmla="*/ 130856 w 1460432"/>
                    <a:gd name="connsiteY6" fmla="*/ 1154031 h 1221031"/>
                    <a:gd name="connsiteX7" fmla="*/ 725 w 1460432"/>
                    <a:gd name="connsiteY7" fmla="*/ 994264 h 1221031"/>
                    <a:gd name="connsiteX8" fmla="*/ 115025 w 1460432"/>
                    <a:gd name="connsiteY8" fmla="*/ 174845 h 1221031"/>
                    <a:gd name="connsiteX0" fmla="*/ 115025 w 1460432"/>
                    <a:gd name="connsiteY0" fmla="*/ 174845 h 1216280"/>
                    <a:gd name="connsiteX1" fmla="*/ 495186 w 1460432"/>
                    <a:gd name="connsiteY1" fmla="*/ 13411 h 1216280"/>
                    <a:gd name="connsiteX2" fmla="*/ 969055 w 1460432"/>
                    <a:gd name="connsiteY2" fmla="*/ 8649 h 1216280"/>
                    <a:gd name="connsiteX3" fmla="*/ 1341370 w 1460432"/>
                    <a:gd name="connsiteY3" fmla="*/ 174845 h 1216280"/>
                    <a:gd name="connsiteX4" fmla="*/ 1460432 w 1460432"/>
                    <a:gd name="connsiteY4" fmla="*/ 1010933 h 1216280"/>
                    <a:gd name="connsiteX5" fmla="*/ 626156 w 1460432"/>
                    <a:gd name="connsiteY5" fmla="*/ 1215943 h 1216280"/>
                    <a:gd name="connsiteX6" fmla="*/ 130856 w 1460432"/>
                    <a:gd name="connsiteY6" fmla="*/ 1154031 h 1216280"/>
                    <a:gd name="connsiteX7" fmla="*/ 725 w 1460432"/>
                    <a:gd name="connsiteY7" fmla="*/ 994264 h 1216280"/>
                    <a:gd name="connsiteX8" fmla="*/ 115025 w 1460432"/>
                    <a:gd name="connsiteY8" fmla="*/ 174845 h 1216280"/>
                    <a:gd name="connsiteX0" fmla="*/ 115025 w 1460432"/>
                    <a:gd name="connsiteY0" fmla="*/ 174845 h 1216379"/>
                    <a:gd name="connsiteX1" fmla="*/ 495186 w 1460432"/>
                    <a:gd name="connsiteY1" fmla="*/ 13411 h 1216379"/>
                    <a:gd name="connsiteX2" fmla="*/ 969055 w 1460432"/>
                    <a:gd name="connsiteY2" fmla="*/ 8649 h 1216379"/>
                    <a:gd name="connsiteX3" fmla="*/ 1341370 w 1460432"/>
                    <a:gd name="connsiteY3" fmla="*/ 174845 h 1216379"/>
                    <a:gd name="connsiteX4" fmla="*/ 1460432 w 1460432"/>
                    <a:gd name="connsiteY4" fmla="*/ 1010933 h 1216379"/>
                    <a:gd name="connsiteX5" fmla="*/ 626156 w 1460432"/>
                    <a:gd name="connsiteY5" fmla="*/ 1215943 h 1216379"/>
                    <a:gd name="connsiteX6" fmla="*/ 130856 w 1460432"/>
                    <a:gd name="connsiteY6" fmla="*/ 1154031 h 1216379"/>
                    <a:gd name="connsiteX7" fmla="*/ 725 w 1460432"/>
                    <a:gd name="connsiteY7" fmla="*/ 994264 h 1216379"/>
                    <a:gd name="connsiteX8" fmla="*/ 115025 w 1460432"/>
                    <a:gd name="connsiteY8" fmla="*/ 174845 h 1216379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5980"/>
                    <a:gd name="connsiteX1" fmla="*/ 495186 w 1460432"/>
                    <a:gd name="connsiteY1" fmla="*/ 13411 h 1235980"/>
                    <a:gd name="connsiteX2" fmla="*/ 969055 w 1460432"/>
                    <a:gd name="connsiteY2" fmla="*/ 8649 h 1235980"/>
                    <a:gd name="connsiteX3" fmla="*/ 1341370 w 1460432"/>
                    <a:gd name="connsiteY3" fmla="*/ 174845 h 1235980"/>
                    <a:gd name="connsiteX4" fmla="*/ 1460432 w 1460432"/>
                    <a:gd name="connsiteY4" fmla="*/ 1010933 h 1235980"/>
                    <a:gd name="connsiteX5" fmla="*/ 849994 w 1460432"/>
                    <a:gd name="connsiteY5" fmla="*/ 1220706 h 1235980"/>
                    <a:gd name="connsiteX6" fmla="*/ 626156 w 1460432"/>
                    <a:gd name="connsiteY6" fmla="*/ 1215943 h 1235980"/>
                    <a:gd name="connsiteX7" fmla="*/ 130856 w 1460432"/>
                    <a:gd name="connsiteY7" fmla="*/ 1154031 h 1235980"/>
                    <a:gd name="connsiteX8" fmla="*/ 725 w 1460432"/>
                    <a:gd name="connsiteY8" fmla="*/ 994264 h 1235980"/>
                    <a:gd name="connsiteX9" fmla="*/ 115025 w 1460432"/>
                    <a:gd name="connsiteY9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849994 w 1450907"/>
                    <a:gd name="connsiteY5" fmla="*/ 1220706 h 1235980"/>
                    <a:gd name="connsiteX6" fmla="*/ 626156 w 1450907"/>
                    <a:gd name="connsiteY6" fmla="*/ 1215943 h 1235980"/>
                    <a:gd name="connsiteX7" fmla="*/ 130856 w 1450907"/>
                    <a:gd name="connsiteY7" fmla="*/ 1154031 h 1235980"/>
                    <a:gd name="connsiteX8" fmla="*/ 725 w 1450907"/>
                    <a:gd name="connsiteY8" fmla="*/ 994264 h 1235980"/>
                    <a:gd name="connsiteX9" fmla="*/ 115025 w 1450907"/>
                    <a:gd name="connsiteY9" fmla="*/ 174845 h 1235980"/>
                    <a:gd name="connsiteX0" fmla="*/ 115025 w 1451491"/>
                    <a:gd name="connsiteY0" fmla="*/ 174845 h 1235980"/>
                    <a:gd name="connsiteX1" fmla="*/ 495186 w 1451491"/>
                    <a:gd name="connsiteY1" fmla="*/ 13411 h 1235980"/>
                    <a:gd name="connsiteX2" fmla="*/ 969055 w 1451491"/>
                    <a:gd name="connsiteY2" fmla="*/ 8649 h 1235980"/>
                    <a:gd name="connsiteX3" fmla="*/ 1341370 w 1451491"/>
                    <a:gd name="connsiteY3" fmla="*/ 174845 h 1235980"/>
                    <a:gd name="connsiteX4" fmla="*/ 1450907 w 1451491"/>
                    <a:gd name="connsiteY4" fmla="*/ 1010933 h 1235980"/>
                    <a:gd name="connsiteX5" fmla="*/ 1338151 w 1451491"/>
                    <a:gd name="connsiteY5" fmla="*/ 1058780 h 1235980"/>
                    <a:gd name="connsiteX6" fmla="*/ 849994 w 1451491"/>
                    <a:gd name="connsiteY6" fmla="*/ 1220706 h 1235980"/>
                    <a:gd name="connsiteX7" fmla="*/ 626156 w 1451491"/>
                    <a:gd name="connsiteY7" fmla="*/ 1215943 h 1235980"/>
                    <a:gd name="connsiteX8" fmla="*/ 130856 w 1451491"/>
                    <a:gd name="connsiteY8" fmla="*/ 1154031 h 1235980"/>
                    <a:gd name="connsiteX9" fmla="*/ 725 w 1451491"/>
                    <a:gd name="connsiteY9" fmla="*/ 994264 h 1235980"/>
                    <a:gd name="connsiteX10" fmla="*/ 115025 w 145149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25455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32598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3288"/>
                    <a:gd name="connsiteY0" fmla="*/ 174845 h 1235980"/>
                    <a:gd name="connsiteX1" fmla="*/ 495186 w 1453288"/>
                    <a:gd name="connsiteY1" fmla="*/ 13411 h 1235980"/>
                    <a:gd name="connsiteX2" fmla="*/ 969055 w 1453288"/>
                    <a:gd name="connsiteY2" fmla="*/ 8649 h 1235980"/>
                    <a:gd name="connsiteX3" fmla="*/ 1341370 w 1453288"/>
                    <a:gd name="connsiteY3" fmla="*/ 174845 h 1235980"/>
                    <a:gd name="connsiteX4" fmla="*/ 1453288 w 1453288"/>
                    <a:gd name="connsiteY4" fmla="*/ 1010933 h 1235980"/>
                    <a:gd name="connsiteX5" fmla="*/ 1357201 w 1453288"/>
                    <a:gd name="connsiteY5" fmla="*/ 1132598 h 1235980"/>
                    <a:gd name="connsiteX6" fmla="*/ 849994 w 1453288"/>
                    <a:gd name="connsiteY6" fmla="*/ 1220706 h 1235980"/>
                    <a:gd name="connsiteX7" fmla="*/ 626156 w 1453288"/>
                    <a:gd name="connsiteY7" fmla="*/ 1215943 h 1235980"/>
                    <a:gd name="connsiteX8" fmla="*/ 130856 w 1453288"/>
                    <a:gd name="connsiteY8" fmla="*/ 1154031 h 1235980"/>
                    <a:gd name="connsiteX9" fmla="*/ 725 w 1453288"/>
                    <a:gd name="connsiteY9" fmla="*/ 994264 h 1235980"/>
                    <a:gd name="connsiteX10" fmla="*/ 115025 w 1453288"/>
                    <a:gd name="connsiteY10" fmla="*/ 174845 h 1235980"/>
                    <a:gd name="connsiteX0" fmla="*/ 115025 w 1453884"/>
                    <a:gd name="connsiteY0" fmla="*/ 174845 h 1235980"/>
                    <a:gd name="connsiteX1" fmla="*/ 495186 w 1453884"/>
                    <a:gd name="connsiteY1" fmla="*/ 13411 h 1235980"/>
                    <a:gd name="connsiteX2" fmla="*/ 969055 w 1453884"/>
                    <a:gd name="connsiteY2" fmla="*/ 8649 h 1235980"/>
                    <a:gd name="connsiteX3" fmla="*/ 1341370 w 1453884"/>
                    <a:gd name="connsiteY3" fmla="*/ 174845 h 1235980"/>
                    <a:gd name="connsiteX4" fmla="*/ 1453288 w 1453884"/>
                    <a:gd name="connsiteY4" fmla="*/ 1010933 h 1235980"/>
                    <a:gd name="connsiteX5" fmla="*/ 1357201 w 1453884"/>
                    <a:gd name="connsiteY5" fmla="*/ 1132598 h 1235980"/>
                    <a:gd name="connsiteX6" fmla="*/ 849994 w 1453884"/>
                    <a:gd name="connsiteY6" fmla="*/ 1220706 h 1235980"/>
                    <a:gd name="connsiteX7" fmla="*/ 626156 w 1453884"/>
                    <a:gd name="connsiteY7" fmla="*/ 1215943 h 1235980"/>
                    <a:gd name="connsiteX8" fmla="*/ 130856 w 1453884"/>
                    <a:gd name="connsiteY8" fmla="*/ 1154031 h 1235980"/>
                    <a:gd name="connsiteX9" fmla="*/ 725 w 1453884"/>
                    <a:gd name="connsiteY9" fmla="*/ 994264 h 1235980"/>
                    <a:gd name="connsiteX10" fmla="*/ 115025 w 1453884"/>
                    <a:gd name="connsiteY10" fmla="*/ 174845 h 1235980"/>
                    <a:gd name="connsiteX0" fmla="*/ 115025 w 1453884"/>
                    <a:gd name="connsiteY0" fmla="*/ 174845 h 1221126"/>
                    <a:gd name="connsiteX1" fmla="*/ 495186 w 1453884"/>
                    <a:gd name="connsiteY1" fmla="*/ 13411 h 1221126"/>
                    <a:gd name="connsiteX2" fmla="*/ 969055 w 1453884"/>
                    <a:gd name="connsiteY2" fmla="*/ 8649 h 1221126"/>
                    <a:gd name="connsiteX3" fmla="*/ 1341370 w 1453884"/>
                    <a:gd name="connsiteY3" fmla="*/ 174845 h 1221126"/>
                    <a:gd name="connsiteX4" fmla="*/ 1453288 w 1453884"/>
                    <a:gd name="connsiteY4" fmla="*/ 1010933 h 1221126"/>
                    <a:gd name="connsiteX5" fmla="*/ 1357201 w 1453884"/>
                    <a:gd name="connsiteY5" fmla="*/ 1132598 h 1221126"/>
                    <a:gd name="connsiteX6" fmla="*/ 849994 w 1453884"/>
                    <a:gd name="connsiteY6" fmla="*/ 1220706 h 1221126"/>
                    <a:gd name="connsiteX7" fmla="*/ 752362 w 1453884"/>
                    <a:gd name="connsiteY7" fmla="*/ 751598 h 1221126"/>
                    <a:gd name="connsiteX8" fmla="*/ 626156 w 1453884"/>
                    <a:gd name="connsiteY8" fmla="*/ 1215943 h 1221126"/>
                    <a:gd name="connsiteX9" fmla="*/ 130856 w 1453884"/>
                    <a:gd name="connsiteY9" fmla="*/ 1154031 h 1221126"/>
                    <a:gd name="connsiteX10" fmla="*/ 725 w 1453884"/>
                    <a:gd name="connsiteY10" fmla="*/ 994264 h 1221126"/>
                    <a:gd name="connsiteX11" fmla="*/ 115025 w 1453884"/>
                    <a:gd name="connsiteY11" fmla="*/ 174845 h 1221126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26156 w 1453884"/>
                    <a:gd name="connsiteY8" fmla="*/ 1215943 h 1220914"/>
                    <a:gd name="connsiteX9" fmla="*/ 130856 w 1453884"/>
                    <a:gd name="connsiteY9" fmla="*/ 1154031 h 1220914"/>
                    <a:gd name="connsiteX10" fmla="*/ 725 w 1453884"/>
                    <a:gd name="connsiteY10" fmla="*/ 994264 h 1220914"/>
                    <a:gd name="connsiteX11" fmla="*/ 115025 w 1453884"/>
                    <a:gd name="connsiteY11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83306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540431 w 1453884"/>
                    <a:gd name="connsiteY9" fmla="*/ 1165937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35681 w 1453884"/>
                    <a:gd name="connsiteY9" fmla="*/ 1201655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85251 h 1231320"/>
                    <a:gd name="connsiteX1" fmla="*/ 495186 w 1453884"/>
                    <a:gd name="connsiteY1" fmla="*/ 23817 h 1231320"/>
                    <a:gd name="connsiteX2" fmla="*/ 969055 w 1453884"/>
                    <a:gd name="connsiteY2" fmla="*/ 19055 h 1231320"/>
                    <a:gd name="connsiteX3" fmla="*/ 1341370 w 1453884"/>
                    <a:gd name="connsiteY3" fmla="*/ 185251 h 1231320"/>
                    <a:gd name="connsiteX4" fmla="*/ 1453288 w 1453884"/>
                    <a:gd name="connsiteY4" fmla="*/ 1021339 h 1231320"/>
                    <a:gd name="connsiteX5" fmla="*/ 1357201 w 1453884"/>
                    <a:gd name="connsiteY5" fmla="*/ 1143004 h 1231320"/>
                    <a:gd name="connsiteX6" fmla="*/ 849994 w 1453884"/>
                    <a:gd name="connsiteY6" fmla="*/ 1231112 h 1231320"/>
                    <a:gd name="connsiteX7" fmla="*/ 769031 w 1453884"/>
                    <a:gd name="connsiteY7" fmla="*/ 259560 h 1231320"/>
                    <a:gd name="connsiteX8" fmla="*/ 711881 w 1453884"/>
                    <a:gd name="connsiteY8" fmla="*/ 4 h 1231320"/>
                    <a:gd name="connsiteX9" fmla="*/ 695213 w 1453884"/>
                    <a:gd name="connsiteY9" fmla="*/ 264323 h 1231320"/>
                    <a:gd name="connsiteX10" fmla="*/ 642824 w 1453884"/>
                    <a:gd name="connsiteY10" fmla="*/ 1219205 h 1231320"/>
                    <a:gd name="connsiteX11" fmla="*/ 130856 w 1453884"/>
                    <a:gd name="connsiteY11" fmla="*/ 1164437 h 1231320"/>
                    <a:gd name="connsiteX12" fmla="*/ 725 w 1453884"/>
                    <a:gd name="connsiteY12" fmla="*/ 1004670 h 1231320"/>
                    <a:gd name="connsiteX13" fmla="*/ 115025 w 1453884"/>
                    <a:gd name="connsiteY13" fmla="*/ 185251 h 1231320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30"/>
                    <a:gd name="connsiteX1" fmla="*/ 495186 w 1453884"/>
                    <a:gd name="connsiteY1" fmla="*/ 13412 h 1220930"/>
                    <a:gd name="connsiteX2" fmla="*/ 969055 w 1453884"/>
                    <a:gd name="connsiteY2" fmla="*/ 8650 h 1220930"/>
                    <a:gd name="connsiteX3" fmla="*/ 1341370 w 1453884"/>
                    <a:gd name="connsiteY3" fmla="*/ 174846 h 1220930"/>
                    <a:gd name="connsiteX4" fmla="*/ 1453288 w 1453884"/>
                    <a:gd name="connsiteY4" fmla="*/ 1010934 h 1220930"/>
                    <a:gd name="connsiteX5" fmla="*/ 1357201 w 1453884"/>
                    <a:gd name="connsiteY5" fmla="*/ 1132599 h 1220930"/>
                    <a:gd name="connsiteX6" fmla="*/ 849994 w 1453884"/>
                    <a:gd name="connsiteY6" fmla="*/ 1220707 h 1220930"/>
                    <a:gd name="connsiteX7" fmla="*/ 769031 w 1453884"/>
                    <a:gd name="connsiteY7" fmla="*/ 249155 h 1220930"/>
                    <a:gd name="connsiteX8" fmla="*/ 728550 w 1453884"/>
                    <a:gd name="connsiteY8" fmla="*/ 172956 h 1220930"/>
                    <a:gd name="connsiteX9" fmla="*/ 690451 w 1453884"/>
                    <a:gd name="connsiteY9" fmla="*/ 253918 h 1220930"/>
                    <a:gd name="connsiteX10" fmla="*/ 642824 w 1453884"/>
                    <a:gd name="connsiteY10" fmla="*/ 1208800 h 1220930"/>
                    <a:gd name="connsiteX11" fmla="*/ 130856 w 1453884"/>
                    <a:gd name="connsiteY11" fmla="*/ 1154032 h 1220930"/>
                    <a:gd name="connsiteX12" fmla="*/ 725 w 1453884"/>
                    <a:gd name="connsiteY12" fmla="*/ 994265 h 1220930"/>
                    <a:gd name="connsiteX13" fmla="*/ 115025 w 1453884"/>
                    <a:gd name="connsiteY13" fmla="*/ 174846 h 1220930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5135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3592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67224 h 1213085"/>
                    <a:gd name="connsiteX1" fmla="*/ 495186 w 1453884"/>
                    <a:gd name="connsiteY1" fmla="*/ 5790 h 1213085"/>
                    <a:gd name="connsiteX2" fmla="*/ 647987 w 1453884"/>
                    <a:gd name="connsiteY2" fmla="*/ 240080 h 1213085"/>
                    <a:gd name="connsiteX3" fmla="*/ 723592 w 1453884"/>
                    <a:gd name="connsiteY3" fmla="*/ 91958 h 1213085"/>
                    <a:gd name="connsiteX4" fmla="*/ 816169 w 1453884"/>
                    <a:gd name="connsiteY4" fmla="*/ 233908 h 1213085"/>
                    <a:gd name="connsiteX5" fmla="*/ 969055 w 1453884"/>
                    <a:gd name="connsiteY5" fmla="*/ 1028 h 1213085"/>
                    <a:gd name="connsiteX6" fmla="*/ 1341370 w 1453884"/>
                    <a:gd name="connsiteY6" fmla="*/ 167224 h 1213085"/>
                    <a:gd name="connsiteX7" fmla="*/ 1453288 w 1453884"/>
                    <a:gd name="connsiteY7" fmla="*/ 1003312 h 1213085"/>
                    <a:gd name="connsiteX8" fmla="*/ 1357201 w 1453884"/>
                    <a:gd name="connsiteY8" fmla="*/ 1124977 h 1213085"/>
                    <a:gd name="connsiteX9" fmla="*/ 838087 w 1453884"/>
                    <a:gd name="connsiteY9" fmla="*/ 1213085 h 1213085"/>
                    <a:gd name="connsiteX10" fmla="*/ 769031 w 1453884"/>
                    <a:gd name="connsiteY10" fmla="*/ 241533 h 1213085"/>
                    <a:gd name="connsiteX11" fmla="*/ 728550 w 1453884"/>
                    <a:gd name="connsiteY11" fmla="*/ 165334 h 1213085"/>
                    <a:gd name="connsiteX12" fmla="*/ 690451 w 1453884"/>
                    <a:gd name="connsiteY12" fmla="*/ 246296 h 1213085"/>
                    <a:gd name="connsiteX13" fmla="*/ 642824 w 1453884"/>
                    <a:gd name="connsiteY13" fmla="*/ 1201178 h 1213085"/>
                    <a:gd name="connsiteX14" fmla="*/ 130856 w 1453884"/>
                    <a:gd name="connsiteY14" fmla="*/ 1146410 h 1213085"/>
                    <a:gd name="connsiteX15" fmla="*/ 725 w 1453884"/>
                    <a:gd name="connsiteY15" fmla="*/ 986643 h 1213085"/>
                    <a:gd name="connsiteX16" fmla="*/ 115025 w 1453884"/>
                    <a:gd name="connsiteY16" fmla="*/ 167224 h 1213085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53884" h="1216685">
                      <a:moveTo>
                        <a:pt x="115025" y="170824"/>
                      </a:moveTo>
                      <a:cubicBezTo>
                        <a:pt x="166340" y="87644"/>
                        <a:pt x="394437" y="20694"/>
                        <a:pt x="495186" y="9390"/>
                      </a:cubicBezTo>
                      <a:cubicBezTo>
                        <a:pt x="547239" y="89423"/>
                        <a:pt x="596032" y="166059"/>
                        <a:pt x="647987" y="243680"/>
                      </a:cubicBezTo>
                      <a:cubicBezTo>
                        <a:pt x="695313" y="171635"/>
                        <a:pt x="687310" y="181687"/>
                        <a:pt x="728221" y="123330"/>
                      </a:cubicBezTo>
                      <a:cubicBezTo>
                        <a:pt x="779910" y="194563"/>
                        <a:pt x="766001" y="175517"/>
                        <a:pt x="816169" y="237508"/>
                      </a:cubicBezTo>
                      <a:cubicBezTo>
                        <a:pt x="870966" y="148292"/>
                        <a:pt x="911353" y="83375"/>
                        <a:pt x="964427" y="0"/>
                      </a:cubicBezTo>
                      <a:cubicBezTo>
                        <a:pt x="1114725" y="48255"/>
                        <a:pt x="1298227" y="113044"/>
                        <a:pt x="1341370" y="170824"/>
                      </a:cubicBezTo>
                      <a:lnTo>
                        <a:pt x="1453288" y="1006912"/>
                      </a:lnTo>
                      <a:cubicBezTo>
                        <a:pt x="1457515" y="1075256"/>
                        <a:pt x="1440684" y="1112665"/>
                        <a:pt x="1357201" y="1128577"/>
                      </a:cubicBezTo>
                      <a:cubicBezTo>
                        <a:pt x="1257049" y="1163539"/>
                        <a:pt x="961515" y="1197238"/>
                        <a:pt x="838087" y="1216685"/>
                      </a:cubicBezTo>
                      <a:cubicBezTo>
                        <a:pt x="803957" y="973798"/>
                        <a:pt x="753950" y="364989"/>
                        <a:pt x="769031" y="245133"/>
                      </a:cubicBezTo>
                      <a:cubicBezTo>
                        <a:pt x="746983" y="204562"/>
                        <a:pt x="755140" y="219689"/>
                        <a:pt x="728550" y="168934"/>
                      </a:cubicBezTo>
                      <a:cubicBezTo>
                        <a:pt x="709237" y="207828"/>
                        <a:pt x="708971" y="209063"/>
                        <a:pt x="690451" y="249896"/>
                      </a:cubicBezTo>
                      <a:cubicBezTo>
                        <a:pt x="683308" y="463415"/>
                        <a:pt x="663461" y="896803"/>
                        <a:pt x="642824" y="1204778"/>
                      </a:cubicBezTo>
                      <a:cubicBezTo>
                        <a:pt x="418847" y="1209578"/>
                        <a:pt x="238666" y="1181003"/>
                        <a:pt x="130856" y="1150010"/>
                      </a:cubicBezTo>
                      <a:cubicBezTo>
                        <a:pt x="68429" y="1137235"/>
                        <a:pt x="-8285" y="1093505"/>
                        <a:pt x="725" y="990243"/>
                      </a:cubicBezTo>
                      <a:lnTo>
                        <a:pt x="115025" y="1708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  <p:sp>
              <p:nvSpPr>
                <p:cNvPr id="51" name="Rectangle 93">
                  <a:extLst>
                    <a:ext uri="{FF2B5EF4-FFF2-40B4-BE49-F238E27FC236}">
                      <a16:creationId xmlns:a16="http://schemas.microsoft.com/office/drawing/2014/main" id="{862D455A-F133-4FF8-A585-9228435422C9}"/>
                    </a:ext>
                  </a:extLst>
                </p:cNvPr>
                <p:cNvSpPr/>
                <p:nvPr/>
              </p:nvSpPr>
              <p:spPr>
                <a:xfrm>
                  <a:off x="4179962" y="2616196"/>
                  <a:ext cx="1165892" cy="1559218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0 w 1147764"/>
                    <a:gd name="connsiteY0" fmla="*/ 14288 h 583676"/>
                    <a:gd name="connsiteX1" fmla="*/ 1147764 w 1147764"/>
                    <a:gd name="connsiteY1" fmla="*/ 0 h 583676"/>
                    <a:gd name="connsiteX2" fmla="*/ 1147764 w 1147764"/>
                    <a:gd name="connsiteY2" fmla="*/ 583676 h 583676"/>
                    <a:gd name="connsiteX3" fmla="*/ 471488 w 1147764"/>
                    <a:gd name="connsiteY3" fmla="*/ 583676 h 583676"/>
                    <a:gd name="connsiteX4" fmla="*/ 0 w 1147764"/>
                    <a:gd name="connsiteY4" fmla="*/ 14288 h 583676"/>
                    <a:gd name="connsiteX0" fmla="*/ 38099 w 1185863"/>
                    <a:gd name="connsiteY0" fmla="*/ 376238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38099 w 1185863"/>
                    <a:gd name="connsiteY4" fmla="*/ 376238 h 945626"/>
                    <a:gd name="connsiteX0" fmla="*/ 57149 w 1185863"/>
                    <a:gd name="connsiteY0" fmla="*/ 438151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57149 w 1185863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52501"/>
                    <a:gd name="connsiteY0" fmla="*/ 438151 h 945626"/>
                    <a:gd name="connsiteX1" fmla="*/ 0 w 952501"/>
                    <a:gd name="connsiteY1" fmla="*/ 0 h 945626"/>
                    <a:gd name="connsiteX2" fmla="*/ 952501 w 952501"/>
                    <a:gd name="connsiteY2" fmla="*/ 412226 h 945626"/>
                    <a:gd name="connsiteX3" fmla="*/ 509587 w 952501"/>
                    <a:gd name="connsiteY3" fmla="*/ 945626 h 945626"/>
                    <a:gd name="connsiteX4" fmla="*/ 57149 w 952501"/>
                    <a:gd name="connsiteY4" fmla="*/ 438151 h 945626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88899 w 984251"/>
                    <a:gd name="connsiteY0" fmla="*/ 406401 h 928164"/>
                    <a:gd name="connsiteX1" fmla="*/ 0 w 984251"/>
                    <a:gd name="connsiteY1" fmla="*/ 0 h 928164"/>
                    <a:gd name="connsiteX2" fmla="*/ 984251 w 984251"/>
                    <a:gd name="connsiteY2" fmla="*/ 380476 h 928164"/>
                    <a:gd name="connsiteX3" fmla="*/ 541337 w 984251"/>
                    <a:gd name="connsiteY3" fmla="*/ 928164 h 928164"/>
                    <a:gd name="connsiteX4" fmla="*/ 88899 w 984251"/>
                    <a:gd name="connsiteY4" fmla="*/ 406401 h 928164"/>
                    <a:gd name="connsiteX0" fmla="*/ 92074 w 987426"/>
                    <a:gd name="connsiteY0" fmla="*/ 444501 h 966264"/>
                    <a:gd name="connsiteX1" fmla="*/ 0 w 987426"/>
                    <a:gd name="connsiteY1" fmla="*/ 0 h 966264"/>
                    <a:gd name="connsiteX2" fmla="*/ 987426 w 987426"/>
                    <a:gd name="connsiteY2" fmla="*/ 418576 h 966264"/>
                    <a:gd name="connsiteX3" fmla="*/ 544512 w 987426"/>
                    <a:gd name="connsiteY3" fmla="*/ 966264 h 966264"/>
                    <a:gd name="connsiteX4" fmla="*/ 92074 w 987426"/>
                    <a:gd name="connsiteY4" fmla="*/ 444501 h 966264"/>
                    <a:gd name="connsiteX0" fmla="*/ 104774 w 1000126"/>
                    <a:gd name="connsiteY0" fmla="*/ 431801 h 953564"/>
                    <a:gd name="connsiteX1" fmla="*/ 0 w 1000126"/>
                    <a:gd name="connsiteY1" fmla="*/ 0 h 953564"/>
                    <a:gd name="connsiteX2" fmla="*/ 1000126 w 1000126"/>
                    <a:gd name="connsiteY2" fmla="*/ 405876 h 953564"/>
                    <a:gd name="connsiteX3" fmla="*/ 557212 w 1000126"/>
                    <a:gd name="connsiteY3" fmla="*/ 953564 h 953564"/>
                    <a:gd name="connsiteX4" fmla="*/ 104774 w 1000126"/>
                    <a:gd name="connsiteY4" fmla="*/ 431801 h 953564"/>
                    <a:gd name="connsiteX0" fmla="*/ 128962 w 1024314"/>
                    <a:gd name="connsiteY0" fmla="*/ 431801 h 953564"/>
                    <a:gd name="connsiteX1" fmla="*/ 24188 w 1024314"/>
                    <a:gd name="connsiteY1" fmla="*/ 0 h 953564"/>
                    <a:gd name="connsiteX2" fmla="*/ 1024314 w 1024314"/>
                    <a:gd name="connsiteY2" fmla="*/ 405876 h 953564"/>
                    <a:gd name="connsiteX3" fmla="*/ 581400 w 1024314"/>
                    <a:gd name="connsiteY3" fmla="*/ 953564 h 953564"/>
                    <a:gd name="connsiteX4" fmla="*/ 128962 w 1024314"/>
                    <a:gd name="connsiteY4" fmla="*/ 431801 h 953564"/>
                    <a:gd name="connsiteX0" fmla="*/ 138991 w 1034343"/>
                    <a:gd name="connsiteY0" fmla="*/ 431801 h 953564"/>
                    <a:gd name="connsiteX1" fmla="*/ 34217 w 1034343"/>
                    <a:gd name="connsiteY1" fmla="*/ 0 h 953564"/>
                    <a:gd name="connsiteX2" fmla="*/ 1034343 w 1034343"/>
                    <a:gd name="connsiteY2" fmla="*/ 405876 h 953564"/>
                    <a:gd name="connsiteX3" fmla="*/ 591429 w 1034343"/>
                    <a:gd name="connsiteY3" fmla="*/ 953564 h 953564"/>
                    <a:gd name="connsiteX4" fmla="*/ 138991 w 1034343"/>
                    <a:gd name="connsiteY4" fmla="*/ 4318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31495 w 1023672"/>
                    <a:gd name="connsiteY0" fmla="*/ 406401 h 953564"/>
                    <a:gd name="connsiteX1" fmla="*/ 36246 w 1023672"/>
                    <a:gd name="connsiteY1" fmla="*/ 0 h 953564"/>
                    <a:gd name="connsiteX2" fmla="*/ 1023672 w 1023672"/>
                    <a:gd name="connsiteY2" fmla="*/ 405876 h 953564"/>
                    <a:gd name="connsiteX3" fmla="*/ 580758 w 1023672"/>
                    <a:gd name="connsiteY3" fmla="*/ 953564 h 953564"/>
                    <a:gd name="connsiteX4" fmla="*/ 131495 w 1023672"/>
                    <a:gd name="connsiteY4" fmla="*/ 406401 h 953564"/>
                    <a:gd name="connsiteX0" fmla="*/ 137112 w 1029289"/>
                    <a:gd name="connsiteY0" fmla="*/ 406401 h 953564"/>
                    <a:gd name="connsiteX1" fmla="*/ 41863 w 1029289"/>
                    <a:gd name="connsiteY1" fmla="*/ 0 h 953564"/>
                    <a:gd name="connsiteX2" fmla="*/ 1029289 w 1029289"/>
                    <a:gd name="connsiteY2" fmla="*/ 405876 h 953564"/>
                    <a:gd name="connsiteX3" fmla="*/ 586375 w 1029289"/>
                    <a:gd name="connsiteY3" fmla="*/ 953564 h 953564"/>
                    <a:gd name="connsiteX4" fmla="*/ 137112 w 1029289"/>
                    <a:gd name="connsiteY4" fmla="*/ 406401 h 953564"/>
                    <a:gd name="connsiteX0" fmla="*/ 137112 w 1038814"/>
                    <a:gd name="connsiteY0" fmla="*/ 406401 h 953564"/>
                    <a:gd name="connsiteX1" fmla="*/ 41863 w 1038814"/>
                    <a:gd name="connsiteY1" fmla="*/ 0 h 953564"/>
                    <a:gd name="connsiteX2" fmla="*/ 1038814 w 1038814"/>
                    <a:gd name="connsiteY2" fmla="*/ 399526 h 953564"/>
                    <a:gd name="connsiteX3" fmla="*/ 586375 w 1038814"/>
                    <a:gd name="connsiteY3" fmla="*/ 953564 h 953564"/>
                    <a:gd name="connsiteX4" fmla="*/ 137112 w 1038814"/>
                    <a:gd name="connsiteY4" fmla="*/ 406401 h 953564"/>
                    <a:gd name="connsiteX0" fmla="*/ 137112 w 1101380"/>
                    <a:gd name="connsiteY0" fmla="*/ 415417 h 962580"/>
                    <a:gd name="connsiteX1" fmla="*/ 41863 w 1101380"/>
                    <a:gd name="connsiteY1" fmla="*/ 9016 h 962580"/>
                    <a:gd name="connsiteX2" fmla="*/ 1101380 w 1101380"/>
                    <a:gd name="connsiteY2" fmla="*/ 38363 h 962580"/>
                    <a:gd name="connsiteX3" fmla="*/ 1038814 w 1101380"/>
                    <a:gd name="connsiteY3" fmla="*/ 408542 h 962580"/>
                    <a:gd name="connsiteX4" fmla="*/ 586375 w 1101380"/>
                    <a:gd name="connsiteY4" fmla="*/ 962580 h 962580"/>
                    <a:gd name="connsiteX5" fmla="*/ 137112 w 1101380"/>
                    <a:gd name="connsiteY5" fmla="*/ 415417 h 962580"/>
                    <a:gd name="connsiteX0" fmla="*/ 137112 w 1138004"/>
                    <a:gd name="connsiteY0" fmla="*/ 415417 h 962580"/>
                    <a:gd name="connsiteX1" fmla="*/ 41863 w 1138004"/>
                    <a:gd name="connsiteY1" fmla="*/ 9016 h 962580"/>
                    <a:gd name="connsiteX2" fmla="*/ 1101380 w 1138004"/>
                    <a:gd name="connsiteY2" fmla="*/ 38363 h 962580"/>
                    <a:gd name="connsiteX3" fmla="*/ 1038814 w 1138004"/>
                    <a:gd name="connsiteY3" fmla="*/ 408542 h 962580"/>
                    <a:gd name="connsiteX4" fmla="*/ 586375 w 1138004"/>
                    <a:gd name="connsiteY4" fmla="*/ 962580 h 962580"/>
                    <a:gd name="connsiteX5" fmla="*/ 137112 w 1138004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68722"/>
                    <a:gd name="connsiteY0" fmla="*/ 426386 h 973549"/>
                    <a:gd name="connsiteX1" fmla="*/ 41863 w 1168722"/>
                    <a:gd name="connsiteY1" fmla="*/ 19985 h 973549"/>
                    <a:gd name="connsiteX2" fmla="*/ 1120430 w 1168722"/>
                    <a:gd name="connsiteY2" fmla="*/ 36632 h 973549"/>
                    <a:gd name="connsiteX3" fmla="*/ 1038814 w 1168722"/>
                    <a:gd name="connsiteY3" fmla="*/ 419511 h 973549"/>
                    <a:gd name="connsiteX4" fmla="*/ 586375 w 1168722"/>
                    <a:gd name="connsiteY4" fmla="*/ 973549 h 973549"/>
                    <a:gd name="connsiteX5" fmla="*/ 137112 w 1168722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4813 h 971976"/>
                    <a:gd name="connsiteX1" fmla="*/ 41863 w 1150379"/>
                    <a:gd name="connsiteY1" fmla="*/ 31112 h 971976"/>
                    <a:gd name="connsiteX2" fmla="*/ 1120430 w 1150379"/>
                    <a:gd name="connsiteY2" fmla="*/ 35059 h 971976"/>
                    <a:gd name="connsiteX3" fmla="*/ 1038814 w 1150379"/>
                    <a:gd name="connsiteY3" fmla="*/ 417938 h 971976"/>
                    <a:gd name="connsiteX4" fmla="*/ 586375 w 1150379"/>
                    <a:gd name="connsiteY4" fmla="*/ 971976 h 971976"/>
                    <a:gd name="connsiteX5" fmla="*/ 137112 w 1150379"/>
                    <a:gd name="connsiteY5" fmla="*/ 424813 h 971976"/>
                    <a:gd name="connsiteX0" fmla="*/ 137112 w 1150379"/>
                    <a:gd name="connsiteY0" fmla="*/ 1015229 h 1562392"/>
                    <a:gd name="connsiteX1" fmla="*/ 41863 w 1150379"/>
                    <a:gd name="connsiteY1" fmla="*/ 621528 h 1562392"/>
                    <a:gd name="connsiteX2" fmla="*/ 587031 w 1150379"/>
                    <a:gd name="connsiteY2" fmla="*/ 0 h 1562392"/>
                    <a:gd name="connsiteX3" fmla="*/ 1120430 w 1150379"/>
                    <a:gd name="connsiteY3" fmla="*/ 625475 h 1562392"/>
                    <a:gd name="connsiteX4" fmla="*/ 1038814 w 1150379"/>
                    <a:gd name="connsiteY4" fmla="*/ 1008354 h 1562392"/>
                    <a:gd name="connsiteX5" fmla="*/ 586375 w 1150379"/>
                    <a:gd name="connsiteY5" fmla="*/ 1562392 h 1562392"/>
                    <a:gd name="connsiteX6" fmla="*/ 137112 w 1150379"/>
                    <a:gd name="connsiteY6" fmla="*/ 1015229 h 1562392"/>
                    <a:gd name="connsiteX0" fmla="*/ 134670 w 1147937"/>
                    <a:gd name="connsiteY0" fmla="*/ 1015229 h 1562392"/>
                    <a:gd name="connsiteX1" fmla="*/ 42596 w 1147937"/>
                    <a:gd name="connsiteY1" fmla="*/ 637403 h 1562392"/>
                    <a:gd name="connsiteX2" fmla="*/ 584589 w 1147937"/>
                    <a:gd name="connsiteY2" fmla="*/ 0 h 1562392"/>
                    <a:gd name="connsiteX3" fmla="*/ 1117988 w 1147937"/>
                    <a:gd name="connsiteY3" fmla="*/ 625475 h 1562392"/>
                    <a:gd name="connsiteX4" fmla="*/ 1036372 w 1147937"/>
                    <a:gd name="connsiteY4" fmla="*/ 1008354 h 1562392"/>
                    <a:gd name="connsiteX5" fmla="*/ 583933 w 1147937"/>
                    <a:gd name="connsiteY5" fmla="*/ 1562392 h 1562392"/>
                    <a:gd name="connsiteX6" fmla="*/ 134670 w 1147937"/>
                    <a:gd name="connsiteY6" fmla="*/ 1015229 h 1562392"/>
                    <a:gd name="connsiteX0" fmla="*/ 144566 w 1157833"/>
                    <a:gd name="connsiteY0" fmla="*/ 1015229 h 1562392"/>
                    <a:gd name="connsiteX1" fmla="*/ 39792 w 1157833"/>
                    <a:gd name="connsiteY1" fmla="*/ 640578 h 1562392"/>
                    <a:gd name="connsiteX2" fmla="*/ 594485 w 1157833"/>
                    <a:gd name="connsiteY2" fmla="*/ 0 h 1562392"/>
                    <a:gd name="connsiteX3" fmla="*/ 1127884 w 1157833"/>
                    <a:gd name="connsiteY3" fmla="*/ 625475 h 1562392"/>
                    <a:gd name="connsiteX4" fmla="*/ 1046268 w 1157833"/>
                    <a:gd name="connsiteY4" fmla="*/ 1008354 h 1562392"/>
                    <a:gd name="connsiteX5" fmla="*/ 593829 w 1157833"/>
                    <a:gd name="connsiteY5" fmla="*/ 1562392 h 1562392"/>
                    <a:gd name="connsiteX6" fmla="*/ 144566 w 1157833"/>
                    <a:gd name="connsiteY6" fmla="*/ 1015229 h 1562392"/>
                    <a:gd name="connsiteX0" fmla="*/ 137601 w 1150868"/>
                    <a:gd name="connsiteY0" fmla="*/ 1015229 h 1562392"/>
                    <a:gd name="connsiteX1" fmla="*/ 32827 w 1150868"/>
                    <a:gd name="connsiteY1" fmla="*/ 640578 h 1562392"/>
                    <a:gd name="connsiteX2" fmla="*/ 587520 w 1150868"/>
                    <a:gd name="connsiteY2" fmla="*/ 0 h 1562392"/>
                    <a:gd name="connsiteX3" fmla="*/ 1120919 w 1150868"/>
                    <a:gd name="connsiteY3" fmla="*/ 625475 h 1562392"/>
                    <a:gd name="connsiteX4" fmla="*/ 1039303 w 1150868"/>
                    <a:gd name="connsiteY4" fmla="*/ 1008354 h 1562392"/>
                    <a:gd name="connsiteX5" fmla="*/ 586864 w 1150868"/>
                    <a:gd name="connsiteY5" fmla="*/ 1562392 h 1562392"/>
                    <a:gd name="connsiteX6" fmla="*/ 137601 w 1150868"/>
                    <a:gd name="connsiteY6" fmla="*/ 1015229 h 1562392"/>
                    <a:gd name="connsiteX0" fmla="*/ 137601 w 1150868"/>
                    <a:gd name="connsiteY0" fmla="*/ 1015230 h 1562393"/>
                    <a:gd name="connsiteX1" fmla="*/ 32827 w 1150868"/>
                    <a:gd name="connsiteY1" fmla="*/ 640579 h 1562393"/>
                    <a:gd name="connsiteX2" fmla="*/ 587520 w 1150868"/>
                    <a:gd name="connsiteY2" fmla="*/ 1 h 1562393"/>
                    <a:gd name="connsiteX3" fmla="*/ 1120919 w 1150868"/>
                    <a:gd name="connsiteY3" fmla="*/ 625476 h 1562393"/>
                    <a:gd name="connsiteX4" fmla="*/ 1039303 w 1150868"/>
                    <a:gd name="connsiteY4" fmla="*/ 1008355 h 1562393"/>
                    <a:gd name="connsiteX5" fmla="*/ 586864 w 1150868"/>
                    <a:gd name="connsiteY5" fmla="*/ 1562393 h 1562393"/>
                    <a:gd name="connsiteX6" fmla="*/ 137601 w 1150868"/>
                    <a:gd name="connsiteY6" fmla="*/ 1015230 h 1562393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970790 h 1517953"/>
                    <a:gd name="connsiteX1" fmla="*/ 32827 w 1150868"/>
                    <a:gd name="connsiteY1" fmla="*/ 596139 h 1517953"/>
                    <a:gd name="connsiteX2" fmla="*/ 600220 w 1150868"/>
                    <a:gd name="connsiteY2" fmla="*/ 11 h 1517953"/>
                    <a:gd name="connsiteX3" fmla="*/ 1120919 w 1150868"/>
                    <a:gd name="connsiteY3" fmla="*/ 581036 h 1517953"/>
                    <a:gd name="connsiteX4" fmla="*/ 1039303 w 1150868"/>
                    <a:gd name="connsiteY4" fmla="*/ 963915 h 1517953"/>
                    <a:gd name="connsiteX5" fmla="*/ 586864 w 1150868"/>
                    <a:gd name="connsiteY5" fmla="*/ 1517953 h 1517953"/>
                    <a:gd name="connsiteX6" fmla="*/ 137601 w 1150868"/>
                    <a:gd name="connsiteY6" fmla="*/ 970790 h 1517953"/>
                    <a:gd name="connsiteX0" fmla="*/ 137601 w 1150868"/>
                    <a:gd name="connsiteY0" fmla="*/ 1040632 h 1587795"/>
                    <a:gd name="connsiteX1" fmla="*/ 32827 w 1150868"/>
                    <a:gd name="connsiteY1" fmla="*/ 665981 h 1587795"/>
                    <a:gd name="connsiteX2" fmla="*/ 587520 w 1150868"/>
                    <a:gd name="connsiteY2" fmla="*/ 3 h 1587795"/>
                    <a:gd name="connsiteX3" fmla="*/ 1120919 w 1150868"/>
                    <a:gd name="connsiteY3" fmla="*/ 650878 h 1587795"/>
                    <a:gd name="connsiteX4" fmla="*/ 1039303 w 1150868"/>
                    <a:gd name="connsiteY4" fmla="*/ 1033757 h 1587795"/>
                    <a:gd name="connsiteX5" fmla="*/ 586864 w 1150868"/>
                    <a:gd name="connsiteY5" fmla="*/ 1587795 h 1587795"/>
                    <a:gd name="connsiteX6" fmla="*/ 137601 w 1150868"/>
                    <a:gd name="connsiteY6" fmla="*/ 1040632 h 1587795"/>
                    <a:gd name="connsiteX0" fmla="*/ 137601 w 1163567"/>
                    <a:gd name="connsiteY0" fmla="*/ 1040632 h 1587795"/>
                    <a:gd name="connsiteX1" fmla="*/ 32827 w 1163567"/>
                    <a:gd name="connsiteY1" fmla="*/ 665981 h 1587795"/>
                    <a:gd name="connsiteX2" fmla="*/ 587520 w 1163567"/>
                    <a:gd name="connsiteY2" fmla="*/ 3 h 1587795"/>
                    <a:gd name="connsiteX3" fmla="*/ 1120919 w 1163567"/>
                    <a:gd name="connsiteY3" fmla="*/ 650878 h 1587795"/>
                    <a:gd name="connsiteX4" fmla="*/ 1039303 w 1163567"/>
                    <a:gd name="connsiteY4" fmla="*/ 1033757 h 1587795"/>
                    <a:gd name="connsiteX5" fmla="*/ 586864 w 1163567"/>
                    <a:gd name="connsiteY5" fmla="*/ 1587795 h 1587795"/>
                    <a:gd name="connsiteX6" fmla="*/ 137601 w 1163567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7998"/>
                    <a:gd name="connsiteY0" fmla="*/ 1040632 h 1587795"/>
                    <a:gd name="connsiteX1" fmla="*/ 32827 w 1167998"/>
                    <a:gd name="connsiteY1" fmla="*/ 665981 h 1587795"/>
                    <a:gd name="connsiteX2" fmla="*/ 587520 w 1167998"/>
                    <a:gd name="connsiteY2" fmla="*/ 3 h 1587795"/>
                    <a:gd name="connsiteX3" fmla="*/ 1120919 w 1167998"/>
                    <a:gd name="connsiteY3" fmla="*/ 650878 h 1587795"/>
                    <a:gd name="connsiteX4" fmla="*/ 1039303 w 1167998"/>
                    <a:gd name="connsiteY4" fmla="*/ 1033757 h 1587795"/>
                    <a:gd name="connsiteX5" fmla="*/ 586864 w 1167998"/>
                    <a:gd name="connsiteY5" fmla="*/ 1587795 h 1587795"/>
                    <a:gd name="connsiteX6" fmla="*/ 137601 w 1167998"/>
                    <a:gd name="connsiteY6" fmla="*/ 1040632 h 1587795"/>
                    <a:gd name="connsiteX0" fmla="*/ 137601 w 1165890"/>
                    <a:gd name="connsiteY0" fmla="*/ 1040632 h 1587795"/>
                    <a:gd name="connsiteX1" fmla="*/ 32827 w 1165890"/>
                    <a:gd name="connsiteY1" fmla="*/ 665981 h 1587795"/>
                    <a:gd name="connsiteX2" fmla="*/ 587520 w 1165890"/>
                    <a:gd name="connsiteY2" fmla="*/ 3 h 1587795"/>
                    <a:gd name="connsiteX3" fmla="*/ 1120919 w 1165890"/>
                    <a:gd name="connsiteY3" fmla="*/ 650878 h 1587795"/>
                    <a:gd name="connsiteX4" fmla="*/ 1039303 w 1165890"/>
                    <a:gd name="connsiteY4" fmla="*/ 1033757 h 1587795"/>
                    <a:gd name="connsiteX5" fmla="*/ 586864 w 1165890"/>
                    <a:gd name="connsiteY5" fmla="*/ 1587795 h 1587795"/>
                    <a:gd name="connsiteX6" fmla="*/ 137601 w 1165890"/>
                    <a:gd name="connsiteY6" fmla="*/ 1040632 h 1587795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890" h="1559220">
                      <a:moveTo>
                        <a:pt x="137601" y="1040632"/>
                      </a:moveTo>
                      <a:cubicBezTo>
                        <a:pt x="29651" y="1014173"/>
                        <a:pt x="-46548" y="813090"/>
                        <a:pt x="32827" y="665981"/>
                      </a:cubicBezTo>
                      <a:cubicBezTo>
                        <a:pt x="16268" y="96726"/>
                        <a:pt x="407759" y="-655"/>
                        <a:pt x="587520" y="3"/>
                      </a:cubicBezTo>
                      <a:cubicBezTo>
                        <a:pt x="767281" y="661"/>
                        <a:pt x="1141401" y="95469"/>
                        <a:pt x="1120919" y="650878"/>
                      </a:cubicBezTo>
                      <a:cubicBezTo>
                        <a:pt x="1206427" y="725058"/>
                        <a:pt x="1164933" y="998471"/>
                        <a:pt x="1039303" y="1033757"/>
                      </a:cubicBezTo>
                      <a:cubicBezTo>
                        <a:pt x="994853" y="1236957"/>
                        <a:pt x="898149" y="1546588"/>
                        <a:pt x="586864" y="1559220"/>
                      </a:cubicBezTo>
                      <a:cubicBezTo>
                        <a:pt x="264458" y="1525853"/>
                        <a:pt x="264602" y="1295516"/>
                        <a:pt x="137601" y="10406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</p:grp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EA4FA39-3BA6-43D5-AF14-803883000B80}"/>
                </a:ext>
              </a:extLst>
            </p:cNvPr>
            <p:cNvGrpSpPr/>
            <p:nvPr/>
          </p:nvGrpSpPr>
          <p:grpSpPr>
            <a:xfrm>
              <a:off x="3177780" y="5121953"/>
              <a:ext cx="844168" cy="967618"/>
              <a:chOff x="1835567" y="1088057"/>
              <a:chExt cx="4224883" cy="4842727"/>
            </a:xfrm>
            <a:solidFill>
              <a:srgbClr val="0070C0"/>
            </a:solidFill>
          </p:grpSpPr>
          <p:sp>
            <p:nvSpPr>
              <p:cNvPr id="53" name="Freeform 189">
                <a:extLst>
                  <a:ext uri="{FF2B5EF4-FFF2-40B4-BE49-F238E27FC236}">
                    <a16:creationId xmlns:a16="http://schemas.microsoft.com/office/drawing/2014/main" id="{FE3F0FC2-C837-43F5-A7DA-D8E63E23DB71}"/>
                  </a:ext>
                </a:extLst>
              </p:cNvPr>
              <p:cNvSpPr/>
              <p:nvPr/>
            </p:nvSpPr>
            <p:spPr>
              <a:xfrm>
                <a:off x="1835567" y="1088057"/>
                <a:ext cx="4224883" cy="4210807"/>
              </a:xfrm>
              <a:custGeom>
                <a:avLst/>
                <a:gdLst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803372 w 4224883"/>
                  <a:gd name="connsiteY26" fmla="*/ 3927404 h 4210806"/>
                  <a:gd name="connsiteX27" fmla="*/ 1779302 w 4224883"/>
                  <a:gd name="connsiteY27" fmla="*/ 4210806 h 4210806"/>
                  <a:gd name="connsiteX28" fmla="*/ 1167066 w 4224883"/>
                  <a:gd name="connsiteY28" fmla="*/ 4055952 h 4210806"/>
                  <a:gd name="connsiteX29" fmla="*/ 1245256 w 4224883"/>
                  <a:gd name="connsiteY29" fmla="*/ 3746819 h 4210806"/>
                  <a:gd name="connsiteX30" fmla="*/ 1207852 w 4224883"/>
                  <a:gd name="connsiteY30" fmla="*/ 3728800 h 4210806"/>
                  <a:gd name="connsiteX31" fmla="*/ 782723 w 4224883"/>
                  <a:gd name="connsiteY31" fmla="*/ 3411129 h 4210806"/>
                  <a:gd name="connsiteX32" fmla="*/ 668756 w 4224883"/>
                  <a:gd name="connsiteY32" fmla="*/ 3285733 h 4210806"/>
                  <a:gd name="connsiteX33" fmla="*/ 445204 w 4224883"/>
                  <a:gd name="connsiteY33" fmla="*/ 3415032 h 4210806"/>
                  <a:gd name="connsiteX34" fmla="*/ 92007 w 4224883"/>
                  <a:gd name="connsiteY34" fmla="*/ 2804367 h 4210806"/>
                  <a:gd name="connsiteX35" fmla="*/ 329613 w 4224883"/>
                  <a:gd name="connsiteY35" fmla="*/ 2666940 h 4210806"/>
                  <a:gd name="connsiteX36" fmla="*/ 325333 w 4224883"/>
                  <a:gd name="connsiteY36" fmla="*/ 2655246 h 4210806"/>
                  <a:gd name="connsiteX37" fmla="*/ 242395 w 4224883"/>
                  <a:gd name="connsiteY37" fmla="*/ 2106659 h 4210806"/>
                  <a:gd name="connsiteX38" fmla="*/ 253268 w 4224883"/>
                  <a:gd name="connsiteY38" fmla="*/ 1915189 h 4210806"/>
                  <a:gd name="connsiteX39" fmla="*/ 0 w 4224883"/>
                  <a:gd name="connsiteY39" fmla="*/ 1836730 h 4210806"/>
                  <a:gd name="connsiteX40" fmla="*/ 205679 w 4224883"/>
                  <a:gd name="connsiteY40" fmla="*/ 1172801 h 4210806"/>
                  <a:gd name="connsiteX41" fmla="*/ 455529 w 4224883"/>
                  <a:gd name="connsiteY41" fmla="*/ 1250203 h 4210806"/>
                  <a:gd name="connsiteX42" fmla="*/ 521138 w 4224883"/>
                  <a:gd name="connsiteY42" fmla="*/ 1131122 h 4210806"/>
                  <a:gd name="connsiteX43" fmla="*/ 913729 w 4224883"/>
                  <a:gd name="connsiteY43" fmla="*/ 683123 h 4210806"/>
                  <a:gd name="connsiteX44" fmla="*/ 934290 w 4224883"/>
                  <a:gd name="connsiteY44" fmla="*/ 667748 h 4210806"/>
                  <a:gd name="connsiteX45" fmla="*/ 801376 w 4224883"/>
                  <a:gd name="connsiteY45" fmla="*/ 413509 h 4210806"/>
                  <a:gd name="connsiteX46" fmla="*/ 1417336 w 4224883"/>
                  <a:gd name="connsiteY46" fmla="*/ 91489 h 4210806"/>
                  <a:gd name="connsiteX47" fmla="*/ 1548443 w 4224883"/>
                  <a:gd name="connsiteY47" fmla="*/ 342270 h 4210806"/>
                  <a:gd name="connsiteX48" fmla="*/ 1715401 w 4224883"/>
                  <a:gd name="connsiteY48" fmla="*/ 299341 h 4210806"/>
                  <a:gd name="connsiteX49" fmla="*/ 2087192 w 4224883"/>
                  <a:gd name="connsiteY49" fmla="*/ 261861 h 4210806"/>
                  <a:gd name="connsiteX50" fmla="*/ 2275812 w 4224883"/>
                  <a:gd name="connsiteY50" fmla="*/ 271386 h 4210806"/>
                  <a:gd name="connsiteX51" fmla="*/ 2312708 w 4224883"/>
                  <a:gd name="connsiteY51" fmla="*/ 277017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779302 w 4224883"/>
                  <a:gd name="connsiteY26" fmla="*/ 4210806 h 4210806"/>
                  <a:gd name="connsiteX27" fmla="*/ 1167066 w 4224883"/>
                  <a:gd name="connsiteY27" fmla="*/ 4055952 h 4210806"/>
                  <a:gd name="connsiteX28" fmla="*/ 1245256 w 4224883"/>
                  <a:gd name="connsiteY28" fmla="*/ 3746819 h 4210806"/>
                  <a:gd name="connsiteX29" fmla="*/ 1207852 w 4224883"/>
                  <a:gd name="connsiteY29" fmla="*/ 3728800 h 4210806"/>
                  <a:gd name="connsiteX30" fmla="*/ 782723 w 4224883"/>
                  <a:gd name="connsiteY30" fmla="*/ 3411129 h 4210806"/>
                  <a:gd name="connsiteX31" fmla="*/ 668756 w 4224883"/>
                  <a:gd name="connsiteY31" fmla="*/ 3285733 h 4210806"/>
                  <a:gd name="connsiteX32" fmla="*/ 445204 w 4224883"/>
                  <a:gd name="connsiteY32" fmla="*/ 3415032 h 4210806"/>
                  <a:gd name="connsiteX33" fmla="*/ 92007 w 4224883"/>
                  <a:gd name="connsiteY33" fmla="*/ 2804367 h 4210806"/>
                  <a:gd name="connsiteX34" fmla="*/ 329613 w 4224883"/>
                  <a:gd name="connsiteY34" fmla="*/ 2666940 h 4210806"/>
                  <a:gd name="connsiteX35" fmla="*/ 325333 w 4224883"/>
                  <a:gd name="connsiteY35" fmla="*/ 2655246 h 4210806"/>
                  <a:gd name="connsiteX36" fmla="*/ 242395 w 4224883"/>
                  <a:gd name="connsiteY36" fmla="*/ 2106659 h 4210806"/>
                  <a:gd name="connsiteX37" fmla="*/ 253268 w 4224883"/>
                  <a:gd name="connsiteY37" fmla="*/ 1915189 h 4210806"/>
                  <a:gd name="connsiteX38" fmla="*/ 0 w 4224883"/>
                  <a:gd name="connsiteY38" fmla="*/ 1836730 h 4210806"/>
                  <a:gd name="connsiteX39" fmla="*/ 205679 w 4224883"/>
                  <a:gd name="connsiteY39" fmla="*/ 1172801 h 4210806"/>
                  <a:gd name="connsiteX40" fmla="*/ 455529 w 4224883"/>
                  <a:gd name="connsiteY40" fmla="*/ 1250203 h 4210806"/>
                  <a:gd name="connsiteX41" fmla="*/ 521138 w 4224883"/>
                  <a:gd name="connsiteY41" fmla="*/ 1131122 h 4210806"/>
                  <a:gd name="connsiteX42" fmla="*/ 913729 w 4224883"/>
                  <a:gd name="connsiteY42" fmla="*/ 683123 h 4210806"/>
                  <a:gd name="connsiteX43" fmla="*/ 934290 w 4224883"/>
                  <a:gd name="connsiteY43" fmla="*/ 667748 h 4210806"/>
                  <a:gd name="connsiteX44" fmla="*/ 801376 w 4224883"/>
                  <a:gd name="connsiteY44" fmla="*/ 413509 h 4210806"/>
                  <a:gd name="connsiteX45" fmla="*/ 1417336 w 4224883"/>
                  <a:gd name="connsiteY45" fmla="*/ 91489 h 4210806"/>
                  <a:gd name="connsiteX46" fmla="*/ 1548443 w 4224883"/>
                  <a:gd name="connsiteY46" fmla="*/ 342270 h 4210806"/>
                  <a:gd name="connsiteX47" fmla="*/ 1715401 w 4224883"/>
                  <a:gd name="connsiteY47" fmla="*/ 299341 h 4210806"/>
                  <a:gd name="connsiteX48" fmla="*/ 2087192 w 4224883"/>
                  <a:gd name="connsiteY48" fmla="*/ 261861 h 4210806"/>
                  <a:gd name="connsiteX49" fmla="*/ 2275812 w 4224883"/>
                  <a:gd name="connsiteY49" fmla="*/ 271386 h 4210806"/>
                  <a:gd name="connsiteX50" fmla="*/ 2312708 w 4224883"/>
                  <a:gd name="connsiteY50" fmla="*/ 277017 h 4210806"/>
                  <a:gd name="connsiteX51" fmla="*/ 2377544 w 4224883"/>
                  <a:gd name="connsiteY51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779302 w 4224883"/>
                  <a:gd name="connsiteY25" fmla="*/ 4210806 h 4210806"/>
                  <a:gd name="connsiteX26" fmla="*/ 1167066 w 4224883"/>
                  <a:gd name="connsiteY26" fmla="*/ 4055952 h 4210806"/>
                  <a:gd name="connsiteX27" fmla="*/ 1245256 w 4224883"/>
                  <a:gd name="connsiteY27" fmla="*/ 3746819 h 4210806"/>
                  <a:gd name="connsiteX28" fmla="*/ 1207852 w 4224883"/>
                  <a:gd name="connsiteY28" fmla="*/ 3728800 h 4210806"/>
                  <a:gd name="connsiteX29" fmla="*/ 782723 w 4224883"/>
                  <a:gd name="connsiteY29" fmla="*/ 3411129 h 4210806"/>
                  <a:gd name="connsiteX30" fmla="*/ 668756 w 4224883"/>
                  <a:gd name="connsiteY30" fmla="*/ 3285733 h 4210806"/>
                  <a:gd name="connsiteX31" fmla="*/ 445204 w 4224883"/>
                  <a:gd name="connsiteY31" fmla="*/ 3415032 h 4210806"/>
                  <a:gd name="connsiteX32" fmla="*/ 92007 w 4224883"/>
                  <a:gd name="connsiteY32" fmla="*/ 2804367 h 4210806"/>
                  <a:gd name="connsiteX33" fmla="*/ 329613 w 4224883"/>
                  <a:gd name="connsiteY33" fmla="*/ 2666940 h 4210806"/>
                  <a:gd name="connsiteX34" fmla="*/ 325333 w 4224883"/>
                  <a:gd name="connsiteY34" fmla="*/ 2655246 h 4210806"/>
                  <a:gd name="connsiteX35" fmla="*/ 242395 w 4224883"/>
                  <a:gd name="connsiteY35" fmla="*/ 2106659 h 4210806"/>
                  <a:gd name="connsiteX36" fmla="*/ 253268 w 4224883"/>
                  <a:gd name="connsiteY36" fmla="*/ 1915189 h 4210806"/>
                  <a:gd name="connsiteX37" fmla="*/ 0 w 4224883"/>
                  <a:gd name="connsiteY37" fmla="*/ 1836730 h 4210806"/>
                  <a:gd name="connsiteX38" fmla="*/ 205679 w 4224883"/>
                  <a:gd name="connsiteY38" fmla="*/ 1172801 h 4210806"/>
                  <a:gd name="connsiteX39" fmla="*/ 455529 w 4224883"/>
                  <a:gd name="connsiteY39" fmla="*/ 1250203 h 4210806"/>
                  <a:gd name="connsiteX40" fmla="*/ 521138 w 4224883"/>
                  <a:gd name="connsiteY40" fmla="*/ 1131122 h 4210806"/>
                  <a:gd name="connsiteX41" fmla="*/ 913729 w 4224883"/>
                  <a:gd name="connsiteY41" fmla="*/ 683123 h 4210806"/>
                  <a:gd name="connsiteX42" fmla="*/ 934290 w 4224883"/>
                  <a:gd name="connsiteY42" fmla="*/ 667748 h 4210806"/>
                  <a:gd name="connsiteX43" fmla="*/ 801376 w 4224883"/>
                  <a:gd name="connsiteY43" fmla="*/ 413509 h 4210806"/>
                  <a:gd name="connsiteX44" fmla="*/ 1417336 w 4224883"/>
                  <a:gd name="connsiteY44" fmla="*/ 91489 h 4210806"/>
                  <a:gd name="connsiteX45" fmla="*/ 1548443 w 4224883"/>
                  <a:gd name="connsiteY45" fmla="*/ 342270 h 4210806"/>
                  <a:gd name="connsiteX46" fmla="*/ 1715401 w 4224883"/>
                  <a:gd name="connsiteY46" fmla="*/ 299341 h 4210806"/>
                  <a:gd name="connsiteX47" fmla="*/ 2087192 w 4224883"/>
                  <a:gd name="connsiteY47" fmla="*/ 261861 h 4210806"/>
                  <a:gd name="connsiteX48" fmla="*/ 2275812 w 4224883"/>
                  <a:gd name="connsiteY48" fmla="*/ 271386 h 4210806"/>
                  <a:gd name="connsiteX49" fmla="*/ 2312708 w 4224883"/>
                  <a:gd name="connsiteY49" fmla="*/ 277017 h 4210806"/>
                  <a:gd name="connsiteX50" fmla="*/ 2377544 w 4224883"/>
                  <a:gd name="connsiteY50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423364 w 4224883"/>
                  <a:gd name="connsiteY17" fmla="*/ 2871009 h 4210806"/>
                  <a:gd name="connsiteX18" fmla="*/ 3429598 w 4224883"/>
                  <a:gd name="connsiteY18" fmla="*/ 2861155 h 4210806"/>
                  <a:gd name="connsiteX19" fmla="*/ 3630757 w 4224883"/>
                  <a:gd name="connsiteY19" fmla="*/ 2105403 h 4210806"/>
                  <a:gd name="connsiteX20" fmla="*/ 2112441 w 4224883"/>
                  <a:gd name="connsiteY20" fmla="*/ 587088 h 4210806"/>
                  <a:gd name="connsiteX21" fmla="*/ 594125 w 4224883"/>
                  <a:gd name="connsiteY21" fmla="*/ 2105403 h 4210806"/>
                  <a:gd name="connsiteX22" fmla="*/ 1806447 w 4224883"/>
                  <a:gd name="connsiteY22" fmla="*/ 3592872 h 4210806"/>
                  <a:gd name="connsiteX23" fmla="*/ 1845599 w 4224883"/>
                  <a:gd name="connsiteY23" fmla="*/ 3598847 h 4210806"/>
                  <a:gd name="connsiteX24" fmla="*/ 1779302 w 4224883"/>
                  <a:gd name="connsiteY24" fmla="*/ 4210806 h 4210806"/>
                  <a:gd name="connsiteX25" fmla="*/ 1167066 w 4224883"/>
                  <a:gd name="connsiteY25" fmla="*/ 4055952 h 4210806"/>
                  <a:gd name="connsiteX26" fmla="*/ 1245256 w 4224883"/>
                  <a:gd name="connsiteY26" fmla="*/ 3746819 h 4210806"/>
                  <a:gd name="connsiteX27" fmla="*/ 1207852 w 4224883"/>
                  <a:gd name="connsiteY27" fmla="*/ 3728800 h 4210806"/>
                  <a:gd name="connsiteX28" fmla="*/ 782723 w 4224883"/>
                  <a:gd name="connsiteY28" fmla="*/ 3411129 h 4210806"/>
                  <a:gd name="connsiteX29" fmla="*/ 668756 w 4224883"/>
                  <a:gd name="connsiteY29" fmla="*/ 3285733 h 4210806"/>
                  <a:gd name="connsiteX30" fmla="*/ 445204 w 4224883"/>
                  <a:gd name="connsiteY30" fmla="*/ 3415032 h 4210806"/>
                  <a:gd name="connsiteX31" fmla="*/ 92007 w 4224883"/>
                  <a:gd name="connsiteY31" fmla="*/ 2804367 h 4210806"/>
                  <a:gd name="connsiteX32" fmla="*/ 329613 w 4224883"/>
                  <a:gd name="connsiteY32" fmla="*/ 2666940 h 4210806"/>
                  <a:gd name="connsiteX33" fmla="*/ 325333 w 4224883"/>
                  <a:gd name="connsiteY33" fmla="*/ 2655246 h 4210806"/>
                  <a:gd name="connsiteX34" fmla="*/ 242395 w 4224883"/>
                  <a:gd name="connsiteY34" fmla="*/ 2106659 h 4210806"/>
                  <a:gd name="connsiteX35" fmla="*/ 253268 w 4224883"/>
                  <a:gd name="connsiteY35" fmla="*/ 1915189 h 4210806"/>
                  <a:gd name="connsiteX36" fmla="*/ 0 w 4224883"/>
                  <a:gd name="connsiteY36" fmla="*/ 1836730 h 4210806"/>
                  <a:gd name="connsiteX37" fmla="*/ 205679 w 4224883"/>
                  <a:gd name="connsiteY37" fmla="*/ 1172801 h 4210806"/>
                  <a:gd name="connsiteX38" fmla="*/ 455529 w 4224883"/>
                  <a:gd name="connsiteY38" fmla="*/ 1250203 h 4210806"/>
                  <a:gd name="connsiteX39" fmla="*/ 521138 w 4224883"/>
                  <a:gd name="connsiteY39" fmla="*/ 1131122 h 4210806"/>
                  <a:gd name="connsiteX40" fmla="*/ 913729 w 4224883"/>
                  <a:gd name="connsiteY40" fmla="*/ 683123 h 4210806"/>
                  <a:gd name="connsiteX41" fmla="*/ 934290 w 4224883"/>
                  <a:gd name="connsiteY41" fmla="*/ 667748 h 4210806"/>
                  <a:gd name="connsiteX42" fmla="*/ 801376 w 4224883"/>
                  <a:gd name="connsiteY42" fmla="*/ 413509 h 4210806"/>
                  <a:gd name="connsiteX43" fmla="*/ 1417336 w 4224883"/>
                  <a:gd name="connsiteY43" fmla="*/ 91489 h 4210806"/>
                  <a:gd name="connsiteX44" fmla="*/ 1548443 w 4224883"/>
                  <a:gd name="connsiteY44" fmla="*/ 342270 h 4210806"/>
                  <a:gd name="connsiteX45" fmla="*/ 1715401 w 4224883"/>
                  <a:gd name="connsiteY45" fmla="*/ 299341 h 4210806"/>
                  <a:gd name="connsiteX46" fmla="*/ 2087192 w 4224883"/>
                  <a:gd name="connsiteY46" fmla="*/ 261861 h 4210806"/>
                  <a:gd name="connsiteX47" fmla="*/ 2275812 w 4224883"/>
                  <a:gd name="connsiteY47" fmla="*/ 271386 h 4210806"/>
                  <a:gd name="connsiteX48" fmla="*/ 2312708 w 4224883"/>
                  <a:gd name="connsiteY48" fmla="*/ 277017 h 4210806"/>
                  <a:gd name="connsiteX49" fmla="*/ 2377544 w 4224883"/>
                  <a:gd name="connsiteY49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423364 w 4224883"/>
                  <a:gd name="connsiteY16" fmla="*/ 2871009 h 4210806"/>
                  <a:gd name="connsiteX17" fmla="*/ 3429598 w 4224883"/>
                  <a:gd name="connsiteY17" fmla="*/ 2861155 h 4210806"/>
                  <a:gd name="connsiteX18" fmla="*/ 3630757 w 4224883"/>
                  <a:gd name="connsiteY18" fmla="*/ 2105403 h 4210806"/>
                  <a:gd name="connsiteX19" fmla="*/ 2112441 w 4224883"/>
                  <a:gd name="connsiteY19" fmla="*/ 587088 h 4210806"/>
                  <a:gd name="connsiteX20" fmla="*/ 594125 w 4224883"/>
                  <a:gd name="connsiteY20" fmla="*/ 2105403 h 4210806"/>
                  <a:gd name="connsiteX21" fmla="*/ 1806447 w 4224883"/>
                  <a:gd name="connsiteY21" fmla="*/ 3592872 h 4210806"/>
                  <a:gd name="connsiteX22" fmla="*/ 1845599 w 4224883"/>
                  <a:gd name="connsiteY22" fmla="*/ 3598847 h 4210806"/>
                  <a:gd name="connsiteX23" fmla="*/ 1779302 w 4224883"/>
                  <a:gd name="connsiteY23" fmla="*/ 4210806 h 4210806"/>
                  <a:gd name="connsiteX24" fmla="*/ 1167066 w 4224883"/>
                  <a:gd name="connsiteY24" fmla="*/ 4055952 h 4210806"/>
                  <a:gd name="connsiteX25" fmla="*/ 1245256 w 4224883"/>
                  <a:gd name="connsiteY25" fmla="*/ 3746819 h 4210806"/>
                  <a:gd name="connsiteX26" fmla="*/ 1207852 w 4224883"/>
                  <a:gd name="connsiteY26" fmla="*/ 3728800 h 4210806"/>
                  <a:gd name="connsiteX27" fmla="*/ 782723 w 4224883"/>
                  <a:gd name="connsiteY27" fmla="*/ 3411129 h 4210806"/>
                  <a:gd name="connsiteX28" fmla="*/ 668756 w 4224883"/>
                  <a:gd name="connsiteY28" fmla="*/ 3285733 h 4210806"/>
                  <a:gd name="connsiteX29" fmla="*/ 445204 w 4224883"/>
                  <a:gd name="connsiteY29" fmla="*/ 3415032 h 4210806"/>
                  <a:gd name="connsiteX30" fmla="*/ 92007 w 4224883"/>
                  <a:gd name="connsiteY30" fmla="*/ 2804367 h 4210806"/>
                  <a:gd name="connsiteX31" fmla="*/ 329613 w 4224883"/>
                  <a:gd name="connsiteY31" fmla="*/ 2666940 h 4210806"/>
                  <a:gd name="connsiteX32" fmla="*/ 325333 w 4224883"/>
                  <a:gd name="connsiteY32" fmla="*/ 2655246 h 4210806"/>
                  <a:gd name="connsiteX33" fmla="*/ 242395 w 4224883"/>
                  <a:gd name="connsiteY33" fmla="*/ 2106659 h 4210806"/>
                  <a:gd name="connsiteX34" fmla="*/ 253268 w 4224883"/>
                  <a:gd name="connsiteY34" fmla="*/ 1915189 h 4210806"/>
                  <a:gd name="connsiteX35" fmla="*/ 0 w 4224883"/>
                  <a:gd name="connsiteY35" fmla="*/ 1836730 h 4210806"/>
                  <a:gd name="connsiteX36" fmla="*/ 205679 w 4224883"/>
                  <a:gd name="connsiteY36" fmla="*/ 1172801 h 4210806"/>
                  <a:gd name="connsiteX37" fmla="*/ 455529 w 4224883"/>
                  <a:gd name="connsiteY37" fmla="*/ 1250203 h 4210806"/>
                  <a:gd name="connsiteX38" fmla="*/ 521138 w 4224883"/>
                  <a:gd name="connsiteY38" fmla="*/ 1131122 h 4210806"/>
                  <a:gd name="connsiteX39" fmla="*/ 913729 w 4224883"/>
                  <a:gd name="connsiteY39" fmla="*/ 683123 h 4210806"/>
                  <a:gd name="connsiteX40" fmla="*/ 934290 w 4224883"/>
                  <a:gd name="connsiteY40" fmla="*/ 667748 h 4210806"/>
                  <a:gd name="connsiteX41" fmla="*/ 801376 w 4224883"/>
                  <a:gd name="connsiteY41" fmla="*/ 413509 h 4210806"/>
                  <a:gd name="connsiteX42" fmla="*/ 1417336 w 4224883"/>
                  <a:gd name="connsiteY42" fmla="*/ 91489 h 4210806"/>
                  <a:gd name="connsiteX43" fmla="*/ 1548443 w 4224883"/>
                  <a:gd name="connsiteY43" fmla="*/ 342270 h 4210806"/>
                  <a:gd name="connsiteX44" fmla="*/ 1715401 w 4224883"/>
                  <a:gd name="connsiteY44" fmla="*/ 299341 h 4210806"/>
                  <a:gd name="connsiteX45" fmla="*/ 2087192 w 4224883"/>
                  <a:gd name="connsiteY45" fmla="*/ 261861 h 4210806"/>
                  <a:gd name="connsiteX46" fmla="*/ 2275812 w 4224883"/>
                  <a:gd name="connsiteY46" fmla="*/ 271386 h 4210806"/>
                  <a:gd name="connsiteX47" fmla="*/ 2312708 w 4224883"/>
                  <a:gd name="connsiteY47" fmla="*/ 277017 h 4210806"/>
                  <a:gd name="connsiteX48" fmla="*/ 2377544 w 4224883"/>
                  <a:gd name="connsiteY48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423364 w 4224883"/>
                  <a:gd name="connsiteY15" fmla="*/ 2871009 h 4210806"/>
                  <a:gd name="connsiteX16" fmla="*/ 3429598 w 4224883"/>
                  <a:gd name="connsiteY16" fmla="*/ 2861155 h 4210806"/>
                  <a:gd name="connsiteX17" fmla="*/ 3630757 w 4224883"/>
                  <a:gd name="connsiteY17" fmla="*/ 2105403 h 4210806"/>
                  <a:gd name="connsiteX18" fmla="*/ 2112441 w 4224883"/>
                  <a:gd name="connsiteY18" fmla="*/ 587088 h 4210806"/>
                  <a:gd name="connsiteX19" fmla="*/ 594125 w 4224883"/>
                  <a:gd name="connsiteY19" fmla="*/ 2105403 h 4210806"/>
                  <a:gd name="connsiteX20" fmla="*/ 1806447 w 4224883"/>
                  <a:gd name="connsiteY20" fmla="*/ 3592872 h 4210806"/>
                  <a:gd name="connsiteX21" fmla="*/ 1845599 w 4224883"/>
                  <a:gd name="connsiteY21" fmla="*/ 3598847 h 4210806"/>
                  <a:gd name="connsiteX22" fmla="*/ 1779302 w 4224883"/>
                  <a:gd name="connsiteY22" fmla="*/ 4210806 h 4210806"/>
                  <a:gd name="connsiteX23" fmla="*/ 1167066 w 4224883"/>
                  <a:gd name="connsiteY23" fmla="*/ 4055952 h 4210806"/>
                  <a:gd name="connsiteX24" fmla="*/ 1245256 w 4224883"/>
                  <a:gd name="connsiteY24" fmla="*/ 3746819 h 4210806"/>
                  <a:gd name="connsiteX25" fmla="*/ 1207852 w 4224883"/>
                  <a:gd name="connsiteY25" fmla="*/ 3728800 h 4210806"/>
                  <a:gd name="connsiteX26" fmla="*/ 782723 w 4224883"/>
                  <a:gd name="connsiteY26" fmla="*/ 3411129 h 4210806"/>
                  <a:gd name="connsiteX27" fmla="*/ 668756 w 4224883"/>
                  <a:gd name="connsiteY27" fmla="*/ 3285733 h 4210806"/>
                  <a:gd name="connsiteX28" fmla="*/ 445204 w 4224883"/>
                  <a:gd name="connsiteY28" fmla="*/ 3415032 h 4210806"/>
                  <a:gd name="connsiteX29" fmla="*/ 92007 w 4224883"/>
                  <a:gd name="connsiteY29" fmla="*/ 2804367 h 4210806"/>
                  <a:gd name="connsiteX30" fmla="*/ 329613 w 4224883"/>
                  <a:gd name="connsiteY30" fmla="*/ 2666940 h 4210806"/>
                  <a:gd name="connsiteX31" fmla="*/ 325333 w 4224883"/>
                  <a:gd name="connsiteY31" fmla="*/ 2655246 h 4210806"/>
                  <a:gd name="connsiteX32" fmla="*/ 242395 w 4224883"/>
                  <a:gd name="connsiteY32" fmla="*/ 2106659 h 4210806"/>
                  <a:gd name="connsiteX33" fmla="*/ 253268 w 4224883"/>
                  <a:gd name="connsiteY33" fmla="*/ 1915189 h 4210806"/>
                  <a:gd name="connsiteX34" fmla="*/ 0 w 4224883"/>
                  <a:gd name="connsiteY34" fmla="*/ 1836730 h 4210806"/>
                  <a:gd name="connsiteX35" fmla="*/ 205679 w 4224883"/>
                  <a:gd name="connsiteY35" fmla="*/ 1172801 h 4210806"/>
                  <a:gd name="connsiteX36" fmla="*/ 455529 w 4224883"/>
                  <a:gd name="connsiteY36" fmla="*/ 1250203 h 4210806"/>
                  <a:gd name="connsiteX37" fmla="*/ 521138 w 4224883"/>
                  <a:gd name="connsiteY37" fmla="*/ 1131122 h 4210806"/>
                  <a:gd name="connsiteX38" fmla="*/ 913729 w 4224883"/>
                  <a:gd name="connsiteY38" fmla="*/ 683123 h 4210806"/>
                  <a:gd name="connsiteX39" fmla="*/ 934290 w 4224883"/>
                  <a:gd name="connsiteY39" fmla="*/ 667748 h 4210806"/>
                  <a:gd name="connsiteX40" fmla="*/ 801376 w 4224883"/>
                  <a:gd name="connsiteY40" fmla="*/ 413509 h 4210806"/>
                  <a:gd name="connsiteX41" fmla="*/ 1417336 w 4224883"/>
                  <a:gd name="connsiteY41" fmla="*/ 91489 h 4210806"/>
                  <a:gd name="connsiteX42" fmla="*/ 1548443 w 4224883"/>
                  <a:gd name="connsiteY42" fmla="*/ 342270 h 4210806"/>
                  <a:gd name="connsiteX43" fmla="*/ 1715401 w 4224883"/>
                  <a:gd name="connsiteY43" fmla="*/ 299341 h 4210806"/>
                  <a:gd name="connsiteX44" fmla="*/ 2087192 w 4224883"/>
                  <a:gd name="connsiteY44" fmla="*/ 261861 h 4210806"/>
                  <a:gd name="connsiteX45" fmla="*/ 2275812 w 4224883"/>
                  <a:gd name="connsiteY45" fmla="*/ 271386 h 4210806"/>
                  <a:gd name="connsiteX46" fmla="*/ 2312708 w 4224883"/>
                  <a:gd name="connsiteY46" fmla="*/ 277017 h 4210806"/>
                  <a:gd name="connsiteX47" fmla="*/ 2377544 w 4224883"/>
                  <a:gd name="connsiteY47" fmla="*/ 0 h 421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224883" h="4210806">
                    <a:moveTo>
                      <a:pt x="2377544" y="0"/>
                    </a:moveTo>
                    <a:lnTo>
                      <a:pt x="3054312" y="158399"/>
                    </a:lnTo>
                    <a:lnTo>
                      <a:pt x="2976557" y="490609"/>
                    </a:lnTo>
                    <a:lnTo>
                      <a:pt x="3118636" y="576924"/>
                    </a:lnTo>
                    <a:cubicBezTo>
                      <a:pt x="3241316" y="659804"/>
                      <a:pt x="3353491" y="757054"/>
                      <a:pt x="3452745" y="866259"/>
                    </a:cubicBezTo>
                    <a:lnTo>
                      <a:pt x="3537652" y="971694"/>
                    </a:lnTo>
                    <a:lnTo>
                      <a:pt x="3814027" y="819215"/>
                    </a:lnTo>
                    <a:lnTo>
                      <a:pt x="4149788" y="1427794"/>
                    </a:lnTo>
                    <a:lnTo>
                      <a:pt x="3855855" y="1589961"/>
                    </a:lnTo>
                    <a:lnTo>
                      <a:pt x="3873911" y="1645615"/>
                    </a:lnTo>
                    <a:cubicBezTo>
                      <a:pt x="3911826" y="1792977"/>
                      <a:pt x="3931990" y="1947463"/>
                      <a:pt x="3931990" y="2106659"/>
                    </a:cubicBezTo>
                    <a:cubicBezTo>
                      <a:pt x="3931990" y="2170338"/>
                      <a:pt x="3928764" y="2233262"/>
                      <a:pt x="3922466" y="2295279"/>
                    </a:cubicBezTo>
                    <a:lnTo>
                      <a:pt x="3921773" y="2299816"/>
                    </a:lnTo>
                    <a:lnTo>
                      <a:pt x="4224883" y="2379220"/>
                    </a:lnTo>
                    <a:lnTo>
                      <a:pt x="4046112" y="3061643"/>
                    </a:lnTo>
                    <a:lnTo>
                      <a:pt x="3423364" y="2871009"/>
                    </a:lnTo>
                    <a:lnTo>
                      <a:pt x="3429598" y="2861155"/>
                    </a:lnTo>
                    <a:cubicBezTo>
                      <a:pt x="3557569" y="2638602"/>
                      <a:pt x="3630757" y="2380550"/>
                      <a:pt x="3630757" y="2105403"/>
                    </a:cubicBezTo>
                    <a:cubicBezTo>
                      <a:pt x="3630757" y="1266861"/>
                      <a:pt x="2950984" y="587088"/>
                      <a:pt x="2112441" y="587088"/>
                    </a:cubicBezTo>
                    <a:cubicBezTo>
                      <a:pt x="1273898" y="587088"/>
                      <a:pt x="594125" y="1266861"/>
                      <a:pt x="594125" y="2105403"/>
                    </a:cubicBezTo>
                    <a:cubicBezTo>
                      <a:pt x="594125" y="2839127"/>
                      <a:pt x="1114576" y="3451294"/>
                      <a:pt x="1806447" y="3592872"/>
                    </a:cubicBezTo>
                    <a:lnTo>
                      <a:pt x="1845599" y="3598847"/>
                    </a:lnTo>
                    <a:lnTo>
                      <a:pt x="1779302" y="4210806"/>
                    </a:lnTo>
                    <a:lnTo>
                      <a:pt x="1167066" y="4055952"/>
                    </a:lnTo>
                    <a:lnTo>
                      <a:pt x="1245256" y="3746819"/>
                    </a:lnTo>
                    <a:lnTo>
                      <a:pt x="1207852" y="3728800"/>
                    </a:lnTo>
                    <a:cubicBezTo>
                      <a:pt x="1051015" y="3643601"/>
                      <a:pt x="907914" y="3536320"/>
                      <a:pt x="782723" y="3411129"/>
                    </a:cubicBezTo>
                    <a:lnTo>
                      <a:pt x="668756" y="3285733"/>
                    </a:lnTo>
                    <a:lnTo>
                      <a:pt x="445204" y="3415032"/>
                    </a:lnTo>
                    <a:lnTo>
                      <a:pt x="92007" y="2804367"/>
                    </a:lnTo>
                    <a:lnTo>
                      <a:pt x="329613" y="2666940"/>
                    </a:lnTo>
                    <a:lnTo>
                      <a:pt x="325333" y="2655246"/>
                    </a:lnTo>
                    <a:cubicBezTo>
                      <a:pt x="271432" y="2481947"/>
                      <a:pt x="242395" y="2297694"/>
                      <a:pt x="242395" y="2106659"/>
                    </a:cubicBezTo>
                    <a:lnTo>
                      <a:pt x="253268" y="1915189"/>
                    </a:lnTo>
                    <a:lnTo>
                      <a:pt x="0" y="1836730"/>
                    </a:lnTo>
                    <a:lnTo>
                      <a:pt x="205679" y="1172801"/>
                    </a:lnTo>
                    <a:lnTo>
                      <a:pt x="455529" y="1250203"/>
                    </a:lnTo>
                    <a:lnTo>
                      <a:pt x="521138" y="1131122"/>
                    </a:lnTo>
                    <a:cubicBezTo>
                      <a:pt x="627135" y="961323"/>
                      <a:pt x="759979" y="810010"/>
                      <a:pt x="913729" y="683123"/>
                    </a:cubicBezTo>
                    <a:lnTo>
                      <a:pt x="934290" y="667748"/>
                    </a:lnTo>
                    <a:lnTo>
                      <a:pt x="801376" y="413509"/>
                    </a:lnTo>
                    <a:lnTo>
                      <a:pt x="1417336" y="91489"/>
                    </a:lnTo>
                    <a:lnTo>
                      <a:pt x="1548443" y="342270"/>
                    </a:lnTo>
                    <a:lnTo>
                      <a:pt x="1715401" y="299341"/>
                    </a:lnTo>
                    <a:cubicBezTo>
                      <a:pt x="1835493" y="274767"/>
                      <a:pt x="1959835" y="261861"/>
                      <a:pt x="2087192" y="261861"/>
                    </a:cubicBezTo>
                    <a:cubicBezTo>
                      <a:pt x="2150870" y="261861"/>
                      <a:pt x="2213795" y="265088"/>
                      <a:pt x="2275812" y="271386"/>
                    </a:cubicBezTo>
                    <a:lnTo>
                      <a:pt x="2312708" y="277017"/>
                    </a:lnTo>
                    <a:lnTo>
                      <a:pt x="2377544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solidFill>
                      <a:prstClr val="white"/>
                    </a:solidFill>
                  </a:rPr>
                  <a:t>   </a:t>
                </a:r>
              </a:p>
            </p:txBody>
          </p: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6C64900D-C1C2-44EA-8A16-E83343E98CCA}"/>
                  </a:ext>
                </a:extLst>
              </p:cNvPr>
              <p:cNvGrpSpPr/>
              <p:nvPr/>
            </p:nvGrpSpPr>
            <p:grpSpPr>
              <a:xfrm>
                <a:off x="3641005" y="2616195"/>
                <a:ext cx="2243802" cy="3314589"/>
                <a:chOff x="3641006" y="2616196"/>
                <a:chExt cx="2243805" cy="3314589"/>
              </a:xfrm>
              <a:grpFill/>
            </p:grpSpPr>
            <p:sp>
              <p:nvSpPr>
                <p:cNvPr id="55" name="Rectangle 6">
                  <a:extLst>
                    <a:ext uri="{FF2B5EF4-FFF2-40B4-BE49-F238E27FC236}">
                      <a16:creationId xmlns:a16="http://schemas.microsoft.com/office/drawing/2014/main" id="{E2812984-E1D6-4188-A622-C951CE27A040}"/>
                    </a:ext>
                  </a:extLst>
                </p:cNvPr>
                <p:cNvSpPr/>
                <p:nvPr/>
              </p:nvSpPr>
              <p:spPr>
                <a:xfrm>
                  <a:off x="3641006" y="4053052"/>
                  <a:ext cx="2243805" cy="1877733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123825 w 800101"/>
                    <a:gd name="connsiteY0" fmla="*/ 0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23825 w 800101"/>
                    <a:gd name="connsiteY4" fmla="*/ 0 h 836089"/>
                    <a:gd name="connsiteX0" fmla="*/ 147638 w 800101"/>
                    <a:gd name="connsiteY0" fmla="*/ 7143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47638 w 800101"/>
                    <a:gd name="connsiteY4" fmla="*/ 71438 h 836089"/>
                    <a:gd name="connsiteX0" fmla="*/ 104775 w 800101"/>
                    <a:gd name="connsiteY0" fmla="*/ 1428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04775 w 800101"/>
                    <a:gd name="connsiteY4" fmla="*/ 14288 h 836089"/>
                    <a:gd name="connsiteX0" fmla="*/ 104775 w 1319213"/>
                    <a:gd name="connsiteY0" fmla="*/ 0 h 821801"/>
                    <a:gd name="connsiteX1" fmla="*/ 1319213 w 1319213"/>
                    <a:gd name="connsiteY1" fmla="*/ 4762 h 821801"/>
                    <a:gd name="connsiteX2" fmla="*/ 800101 w 1319213"/>
                    <a:gd name="connsiteY2" fmla="*/ 569388 h 821801"/>
                    <a:gd name="connsiteX3" fmla="*/ 0 w 1319213"/>
                    <a:gd name="connsiteY3" fmla="*/ 821801 h 821801"/>
                    <a:gd name="connsiteX4" fmla="*/ 104775 w 1319213"/>
                    <a:gd name="connsiteY4" fmla="*/ 0 h 821801"/>
                    <a:gd name="connsiteX0" fmla="*/ 104775 w 1443038"/>
                    <a:gd name="connsiteY0" fmla="*/ 0 h 850376"/>
                    <a:gd name="connsiteX1" fmla="*/ 1319213 w 1443038"/>
                    <a:gd name="connsiteY1" fmla="*/ 4762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04775 w 1443038"/>
                    <a:gd name="connsiteY0" fmla="*/ 0 h 850376"/>
                    <a:gd name="connsiteX1" fmla="*/ 1328738 w 1443038"/>
                    <a:gd name="connsiteY1" fmla="*/ 9525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16681 w 1443038"/>
                    <a:gd name="connsiteY0" fmla="*/ 0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16681 w 1443038"/>
                    <a:gd name="connsiteY4" fmla="*/ 0 h 840851"/>
                    <a:gd name="connsiteX0" fmla="*/ 166687 w 1443038"/>
                    <a:gd name="connsiteY0" fmla="*/ 35719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66687 w 1443038"/>
                    <a:gd name="connsiteY4" fmla="*/ 35719 h 840851"/>
                    <a:gd name="connsiteX0" fmla="*/ 109537 w 1443038"/>
                    <a:gd name="connsiteY0" fmla="*/ 0 h 847994"/>
                    <a:gd name="connsiteX1" fmla="*/ 1328738 w 1443038"/>
                    <a:gd name="connsiteY1" fmla="*/ 7143 h 847994"/>
                    <a:gd name="connsiteX2" fmla="*/ 1443038 w 1443038"/>
                    <a:gd name="connsiteY2" fmla="*/ 847994 h 847994"/>
                    <a:gd name="connsiteX3" fmla="*/ 0 w 1443038"/>
                    <a:gd name="connsiteY3" fmla="*/ 819419 h 847994"/>
                    <a:gd name="connsiteX4" fmla="*/ 109537 w 1443038"/>
                    <a:gd name="connsiteY4" fmla="*/ 0 h 847994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28738 w 1443038"/>
                    <a:gd name="connsiteY3" fmla="*/ 179857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35882 w 1443038"/>
                    <a:gd name="connsiteY3" fmla="*/ 172714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54944"/>
                    <a:gd name="connsiteY0" fmla="*/ 174845 h 1010933"/>
                    <a:gd name="connsiteX1" fmla="*/ 489698 w 1454944"/>
                    <a:gd name="connsiteY1" fmla="*/ 13411 h 1010933"/>
                    <a:gd name="connsiteX2" fmla="*/ 963567 w 1454944"/>
                    <a:gd name="connsiteY2" fmla="*/ 8649 h 1010933"/>
                    <a:gd name="connsiteX3" fmla="*/ 1335882 w 1454944"/>
                    <a:gd name="connsiteY3" fmla="*/ 174845 h 1010933"/>
                    <a:gd name="connsiteX4" fmla="*/ 1454944 w 1454944"/>
                    <a:gd name="connsiteY4" fmla="*/ 1010933 h 1010933"/>
                    <a:gd name="connsiteX5" fmla="*/ 0 w 1454944"/>
                    <a:gd name="connsiteY5" fmla="*/ 994264 h 1010933"/>
                    <a:gd name="connsiteX6" fmla="*/ 109537 w 1454944"/>
                    <a:gd name="connsiteY6" fmla="*/ 174845 h 1010933"/>
                    <a:gd name="connsiteX0" fmla="*/ 114300 w 1459707"/>
                    <a:gd name="connsiteY0" fmla="*/ 174845 h 1010933"/>
                    <a:gd name="connsiteX1" fmla="*/ 494461 w 1459707"/>
                    <a:gd name="connsiteY1" fmla="*/ 13411 h 1010933"/>
                    <a:gd name="connsiteX2" fmla="*/ 968330 w 1459707"/>
                    <a:gd name="connsiteY2" fmla="*/ 8649 h 1010933"/>
                    <a:gd name="connsiteX3" fmla="*/ 1340645 w 1459707"/>
                    <a:gd name="connsiteY3" fmla="*/ 174845 h 1010933"/>
                    <a:gd name="connsiteX4" fmla="*/ 1459707 w 1459707"/>
                    <a:gd name="connsiteY4" fmla="*/ 1010933 h 1010933"/>
                    <a:gd name="connsiteX5" fmla="*/ 0 w 1459707"/>
                    <a:gd name="connsiteY5" fmla="*/ 994264 h 1010933"/>
                    <a:gd name="connsiteX6" fmla="*/ 114300 w 1459707"/>
                    <a:gd name="connsiteY6" fmla="*/ 174845 h 1010933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20606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1837"/>
                    <a:gd name="connsiteX1" fmla="*/ 494461 w 1459707"/>
                    <a:gd name="connsiteY1" fmla="*/ 13411 h 1151837"/>
                    <a:gd name="connsiteX2" fmla="*/ 968330 w 1459707"/>
                    <a:gd name="connsiteY2" fmla="*/ 8649 h 1151837"/>
                    <a:gd name="connsiteX3" fmla="*/ 1340645 w 1459707"/>
                    <a:gd name="connsiteY3" fmla="*/ 174845 h 1151837"/>
                    <a:gd name="connsiteX4" fmla="*/ 1459707 w 1459707"/>
                    <a:gd name="connsiteY4" fmla="*/ 1010933 h 1151837"/>
                    <a:gd name="connsiteX5" fmla="*/ 127750 w 1459707"/>
                    <a:gd name="connsiteY5" fmla="*/ 1151650 h 1151837"/>
                    <a:gd name="connsiteX6" fmla="*/ 0 w 1459707"/>
                    <a:gd name="connsiteY6" fmla="*/ 994264 h 1151837"/>
                    <a:gd name="connsiteX7" fmla="*/ 114300 w 1459707"/>
                    <a:gd name="connsiteY7" fmla="*/ 174845 h 1151837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713 w 1460120"/>
                    <a:gd name="connsiteY0" fmla="*/ 174845 h 1154215"/>
                    <a:gd name="connsiteX1" fmla="*/ 494874 w 1460120"/>
                    <a:gd name="connsiteY1" fmla="*/ 13411 h 1154215"/>
                    <a:gd name="connsiteX2" fmla="*/ 968743 w 1460120"/>
                    <a:gd name="connsiteY2" fmla="*/ 8649 h 1154215"/>
                    <a:gd name="connsiteX3" fmla="*/ 1341058 w 1460120"/>
                    <a:gd name="connsiteY3" fmla="*/ 174845 h 1154215"/>
                    <a:gd name="connsiteX4" fmla="*/ 1460120 w 1460120"/>
                    <a:gd name="connsiteY4" fmla="*/ 1010933 h 1154215"/>
                    <a:gd name="connsiteX5" fmla="*/ 130544 w 1460120"/>
                    <a:gd name="connsiteY5" fmla="*/ 1154031 h 1154215"/>
                    <a:gd name="connsiteX6" fmla="*/ 413 w 1460120"/>
                    <a:gd name="connsiteY6" fmla="*/ 994264 h 1154215"/>
                    <a:gd name="connsiteX7" fmla="*/ 114713 w 1460120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221031"/>
                    <a:gd name="connsiteX1" fmla="*/ 495186 w 1460432"/>
                    <a:gd name="connsiteY1" fmla="*/ 13411 h 1221031"/>
                    <a:gd name="connsiteX2" fmla="*/ 969055 w 1460432"/>
                    <a:gd name="connsiteY2" fmla="*/ 8649 h 1221031"/>
                    <a:gd name="connsiteX3" fmla="*/ 1341370 w 1460432"/>
                    <a:gd name="connsiteY3" fmla="*/ 174845 h 1221031"/>
                    <a:gd name="connsiteX4" fmla="*/ 1460432 w 1460432"/>
                    <a:gd name="connsiteY4" fmla="*/ 1010933 h 1221031"/>
                    <a:gd name="connsiteX5" fmla="*/ 626156 w 1460432"/>
                    <a:gd name="connsiteY5" fmla="*/ 1215943 h 1221031"/>
                    <a:gd name="connsiteX6" fmla="*/ 130856 w 1460432"/>
                    <a:gd name="connsiteY6" fmla="*/ 1154031 h 1221031"/>
                    <a:gd name="connsiteX7" fmla="*/ 725 w 1460432"/>
                    <a:gd name="connsiteY7" fmla="*/ 994264 h 1221031"/>
                    <a:gd name="connsiteX8" fmla="*/ 115025 w 1460432"/>
                    <a:gd name="connsiteY8" fmla="*/ 174845 h 1221031"/>
                    <a:gd name="connsiteX0" fmla="*/ 115025 w 1460432"/>
                    <a:gd name="connsiteY0" fmla="*/ 174845 h 1216280"/>
                    <a:gd name="connsiteX1" fmla="*/ 495186 w 1460432"/>
                    <a:gd name="connsiteY1" fmla="*/ 13411 h 1216280"/>
                    <a:gd name="connsiteX2" fmla="*/ 969055 w 1460432"/>
                    <a:gd name="connsiteY2" fmla="*/ 8649 h 1216280"/>
                    <a:gd name="connsiteX3" fmla="*/ 1341370 w 1460432"/>
                    <a:gd name="connsiteY3" fmla="*/ 174845 h 1216280"/>
                    <a:gd name="connsiteX4" fmla="*/ 1460432 w 1460432"/>
                    <a:gd name="connsiteY4" fmla="*/ 1010933 h 1216280"/>
                    <a:gd name="connsiteX5" fmla="*/ 626156 w 1460432"/>
                    <a:gd name="connsiteY5" fmla="*/ 1215943 h 1216280"/>
                    <a:gd name="connsiteX6" fmla="*/ 130856 w 1460432"/>
                    <a:gd name="connsiteY6" fmla="*/ 1154031 h 1216280"/>
                    <a:gd name="connsiteX7" fmla="*/ 725 w 1460432"/>
                    <a:gd name="connsiteY7" fmla="*/ 994264 h 1216280"/>
                    <a:gd name="connsiteX8" fmla="*/ 115025 w 1460432"/>
                    <a:gd name="connsiteY8" fmla="*/ 174845 h 1216280"/>
                    <a:gd name="connsiteX0" fmla="*/ 115025 w 1460432"/>
                    <a:gd name="connsiteY0" fmla="*/ 174845 h 1216379"/>
                    <a:gd name="connsiteX1" fmla="*/ 495186 w 1460432"/>
                    <a:gd name="connsiteY1" fmla="*/ 13411 h 1216379"/>
                    <a:gd name="connsiteX2" fmla="*/ 969055 w 1460432"/>
                    <a:gd name="connsiteY2" fmla="*/ 8649 h 1216379"/>
                    <a:gd name="connsiteX3" fmla="*/ 1341370 w 1460432"/>
                    <a:gd name="connsiteY3" fmla="*/ 174845 h 1216379"/>
                    <a:gd name="connsiteX4" fmla="*/ 1460432 w 1460432"/>
                    <a:gd name="connsiteY4" fmla="*/ 1010933 h 1216379"/>
                    <a:gd name="connsiteX5" fmla="*/ 626156 w 1460432"/>
                    <a:gd name="connsiteY5" fmla="*/ 1215943 h 1216379"/>
                    <a:gd name="connsiteX6" fmla="*/ 130856 w 1460432"/>
                    <a:gd name="connsiteY6" fmla="*/ 1154031 h 1216379"/>
                    <a:gd name="connsiteX7" fmla="*/ 725 w 1460432"/>
                    <a:gd name="connsiteY7" fmla="*/ 994264 h 1216379"/>
                    <a:gd name="connsiteX8" fmla="*/ 115025 w 1460432"/>
                    <a:gd name="connsiteY8" fmla="*/ 174845 h 1216379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5980"/>
                    <a:gd name="connsiteX1" fmla="*/ 495186 w 1460432"/>
                    <a:gd name="connsiteY1" fmla="*/ 13411 h 1235980"/>
                    <a:gd name="connsiteX2" fmla="*/ 969055 w 1460432"/>
                    <a:gd name="connsiteY2" fmla="*/ 8649 h 1235980"/>
                    <a:gd name="connsiteX3" fmla="*/ 1341370 w 1460432"/>
                    <a:gd name="connsiteY3" fmla="*/ 174845 h 1235980"/>
                    <a:gd name="connsiteX4" fmla="*/ 1460432 w 1460432"/>
                    <a:gd name="connsiteY4" fmla="*/ 1010933 h 1235980"/>
                    <a:gd name="connsiteX5" fmla="*/ 849994 w 1460432"/>
                    <a:gd name="connsiteY5" fmla="*/ 1220706 h 1235980"/>
                    <a:gd name="connsiteX6" fmla="*/ 626156 w 1460432"/>
                    <a:gd name="connsiteY6" fmla="*/ 1215943 h 1235980"/>
                    <a:gd name="connsiteX7" fmla="*/ 130856 w 1460432"/>
                    <a:gd name="connsiteY7" fmla="*/ 1154031 h 1235980"/>
                    <a:gd name="connsiteX8" fmla="*/ 725 w 1460432"/>
                    <a:gd name="connsiteY8" fmla="*/ 994264 h 1235980"/>
                    <a:gd name="connsiteX9" fmla="*/ 115025 w 1460432"/>
                    <a:gd name="connsiteY9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849994 w 1450907"/>
                    <a:gd name="connsiteY5" fmla="*/ 1220706 h 1235980"/>
                    <a:gd name="connsiteX6" fmla="*/ 626156 w 1450907"/>
                    <a:gd name="connsiteY6" fmla="*/ 1215943 h 1235980"/>
                    <a:gd name="connsiteX7" fmla="*/ 130856 w 1450907"/>
                    <a:gd name="connsiteY7" fmla="*/ 1154031 h 1235980"/>
                    <a:gd name="connsiteX8" fmla="*/ 725 w 1450907"/>
                    <a:gd name="connsiteY8" fmla="*/ 994264 h 1235980"/>
                    <a:gd name="connsiteX9" fmla="*/ 115025 w 1450907"/>
                    <a:gd name="connsiteY9" fmla="*/ 174845 h 1235980"/>
                    <a:gd name="connsiteX0" fmla="*/ 115025 w 1451491"/>
                    <a:gd name="connsiteY0" fmla="*/ 174845 h 1235980"/>
                    <a:gd name="connsiteX1" fmla="*/ 495186 w 1451491"/>
                    <a:gd name="connsiteY1" fmla="*/ 13411 h 1235980"/>
                    <a:gd name="connsiteX2" fmla="*/ 969055 w 1451491"/>
                    <a:gd name="connsiteY2" fmla="*/ 8649 h 1235980"/>
                    <a:gd name="connsiteX3" fmla="*/ 1341370 w 1451491"/>
                    <a:gd name="connsiteY3" fmla="*/ 174845 h 1235980"/>
                    <a:gd name="connsiteX4" fmla="*/ 1450907 w 1451491"/>
                    <a:gd name="connsiteY4" fmla="*/ 1010933 h 1235980"/>
                    <a:gd name="connsiteX5" fmla="*/ 1338151 w 1451491"/>
                    <a:gd name="connsiteY5" fmla="*/ 1058780 h 1235980"/>
                    <a:gd name="connsiteX6" fmla="*/ 849994 w 1451491"/>
                    <a:gd name="connsiteY6" fmla="*/ 1220706 h 1235980"/>
                    <a:gd name="connsiteX7" fmla="*/ 626156 w 1451491"/>
                    <a:gd name="connsiteY7" fmla="*/ 1215943 h 1235980"/>
                    <a:gd name="connsiteX8" fmla="*/ 130856 w 1451491"/>
                    <a:gd name="connsiteY8" fmla="*/ 1154031 h 1235980"/>
                    <a:gd name="connsiteX9" fmla="*/ 725 w 1451491"/>
                    <a:gd name="connsiteY9" fmla="*/ 994264 h 1235980"/>
                    <a:gd name="connsiteX10" fmla="*/ 115025 w 145149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25455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32598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3288"/>
                    <a:gd name="connsiteY0" fmla="*/ 174845 h 1235980"/>
                    <a:gd name="connsiteX1" fmla="*/ 495186 w 1453288"/>
                    <a:gd name="connsiteY1" fmla="*/ 13411 h 1235980"/>
                    <a:gd name="connsiteX2" fmla="*/ 969055 w 1453288"/>
                    <a:gd name="connsiteY2" fmla="*/ 8649 h 1235980"/>
                    <a:gd name="connsiteX3" fmla="*/ 1341370 w 1453288"/>
                    <a:gd name="connsiteY3" fmla="*/ 174845 h 1235980"/>
                    <a:gd name="connsiteX4" fmla="*/ 1453288 w 1453288"/>
                    <a:gd name="connsiteY4" fmla="*/ 1010933 h 1235980"/>
                    <a:gd name="connsiteX5" fmla="*/ 1357201 w 1453288"/>
                    <a:gd name="connsiteY5" fmla="*/ 1132598 h 1235980"/>
                    <a:gd name="connsiteX6" fmla="*/ 849994 w 1453288"/>
                    <a:gd name="connsiteY6" fmla="*/ 1220706 h 1235980"/>
                    <a:gd name="connsiteX7" fmla="*/ 626156 w 1453288"/>
                    <a:gd name="connsiteY7" fmla="*/ 1215943 h 1235980"/>
                    <a:gd name="connsiteX8" fmla="*/ 130856 w 1453288"/>
                    <a:gd name="connsiteY8" fmla="*/ 1154031 h 1235980"/>
                    <a:gd name="connsiteX9" fmla="*/ 725 w 1453288"/>
                    <a:gd name="connsiteY9" fmla="*/ 994264 h 1235980"/>
                    <a:gd name="connsiteX10" fmla="*/ 115025 w 1453288"/>
                    <a:gd name="connsiteY10" fmla="*/ 174845 h 1235980"/>
                    <a:gd name="connsiteX0" fmla="*/ 115025 w 1453884"/>
                    <a:gd name="connsiteY0" fmla="*/ 174845 h 1235980"/>
                    <a:gd name="connsiteX1" fmla="*/ 495186 w 1453884"/>
                    <a:gd name="connsiteY1" fmla="*/ 13411 h 1235980"/>
                    <a:gd name="connsiteX2" fmla="*/ 969055 w 1453884"/>
                    <a:gd name="connsiteY2" fmla="*/ 8649 h 1235980"/>
                    <a:gd name="connsiteX3" fmla="*/ 1341370 w 1453884"/>
                    <a:gd name="connsiteY3" fmla="*/ 174845 h 1235980"/>
                    <a:gd name="connsiteX4" fmla="*/ 1453288 w 1453884"/>
                    <a:gd name="connsiteY4" fmla="*/ 1010933 h 1235980"/>
                    <a:gd name="connsiteX5" fmla="*/ 1357201 w 1453884"/>
                    <a:gd name="connsiteY5" fmla="*/ 1132598 h 1235980"/>
                    <a:gd name="connsiteX6" fmla="*/ 849994 w 1453884"/>
                    <a:gd name="connsiteY6" fmla="*/ 1220706 h 1235980"/>
                    <a:gd name="connsiteX7" fmla="*/ 626156 w 1453884"/>
                    <a:gd name="connsiteY7" fmla="*/ 1215943 h 1235980"/>
                    <a:gd name="connsiteX8" fmla="*/ 130856 w 1453884"/>
                    <a:gd name="connsiteY8" fmla="*/ 1154031 h 1235980"/>
                    <a:gd name="connsiteX9" fmla="*/ 725 w 1453884"/>
                    <a:gd name="connsiteY9" fmla="*/ 994264 h 1235980"/>
                    <a:gd name="connsiteX10" fmla="*/ 115025 w 1453884"/>
                    <a:gd name="connsiteY10" fmla="*/ 174845 h 1235980"/>
                    <a:gd name="connsiteX0" fmla="*/ 115025 w 1453884"/>
                    <a:gd name="connsiteY0" fmla="*/ 174845 h 1221126"/>
                    <a:gd name="connsiteX1" fmla="*/ 495186 w 1453884"/>
                    <a:gd name="connsiteY1" fmla="*/ 13411 h 1221126"/>
                    <a:gd name="connsiteX2" fmla="*/ 969055 w 1453884"/>
                    <a:gd name="connsiteY2" fmla="*/ 8649 h 1221126"/>
                    <a:gd name="connsiteX3" fmla="*/ 1341370 w 1453884"/>
                    <a:gd name="connsiteY3" fmla="*/ 174845 h 1221126"/>
                    <a:gd name="connsiteX4" fmla="*/ 1453288 w 1453884"/>
                    <a:gd name="connsiteY4" fmla="*/ 1010933 h 1221126"/>
                    <a:gd name="connsiteX5" fmla="*/ 1357201 w 1453884"/>
                    <a:gd name="connsiteY5" fmla="*/ 1132598 h 1221126"/>
                    <a:gd name="connsiteX6" fmla="*/ 849994 w 1453884"/>
                    <a:gd name="connsiteY6" fmla="*/ 1220706 h 1221126"/>
                    <a:gd name="connsiteX7" fmla="*/ 752362 w 1453884"/>
                    <a:gd name="connsiteY7" fmla="*/ 751598 h 1221126"/>
                    <a:gd name="connsiteX8" fmla="*/ 626156 w 1453884"/>
                    <a:gd name="connsiteY8" fmla="*/ 1215943 h 1221126"/>
                    <a:gd name="connsiteX9" fmla="*/ 130856 w 1453884"/>
                    <a:gd name="connsiteY9" fmla="*/ 1154031 h 1221126"/>
                    <a:gd name="connsiteX10" fmla="*/ 725 w 1453884"/>
                    <a:gd name="connsiteY10" fmla="*/ 994264 h 1221126"/>
                    <a:gd name="connsiteX11" fmla="*/ 115025 w 1453884"/>
                    <a:gd name="connsiteY11" fmla="*/ 174845 h 1221126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26156 w 1453884"/>
                    <a:gd name="connsiteY8" fmla="*/ 1215943 h 1220914"/>
                    <a:gd name="connsiteX9" fmla="*/ 130856 w 1453884"/>
                    <a:gd name="connsiteY9" fmla="*/ 1154031 h 1220914"/>
                    <a:gd name="connsiteX10" fmla="*/ 725 w 1453884"/>
                    <a:gd name="connsiteY10" fmla="*/ 994264 h 1220914"/>
                    <a:gd name="connsiteX11" fmla="*/ 115025 w 1453884"/>
                    <a:gd name="connsiteY11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83306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540431 w 1453884"/>
                    <a:gd name="connsiteY9" fmla="*/ 1165937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35681 w 1453884"/>
                    <a:gd name="connsiteY9" fmla="*/ 1201655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85251 h 1231320"/>
                    <a:gd name="connsiteX1" fmla="*/ 495186 w 1453884"/>
                    <a:gd name="connsiteY1" fmla="*/ 23817 h 1231320"/>
                    <a:gd name="connsiteX2" fmla="*/ 969055 w 1453884"/>
                    <a:gd name="connsiteY2" fmla="*/ 19055 h 1231320"/>
                    <a:gd name="connsiteX3" fmla="*/ 1341370 w 1453884"/>
                    <a:gd name="connsiteY3" fmla="*/ 185251 h 1231320"/>
                    <a:gd name="connsiteX4" fmla="*/ 1453288 w 1453884"/>
                    <a:gd name="connsiteY4" fmla="*/ 1021339 h 1231320"/>
                    <a:gd name="connsiteX5" fmla="*/ 1357201 w 1453884"/>
                    <a:gd name="connsiteY5" fmla="*/ 1143004 h 1231320"/>
                    <a:gd name="connsiteX6" fmla="*/ 849994 w 1453884"/>
                    <a:gd name="connsiteY6" fmla="*/ 1231112 h 1231320"/>
                    <a:gd name="connsiteX7" fmla="*/ 769031 w 1453884"/>
                    <a:gd name="connsiteY7" fmla="*/ 259560 h 1231320"/>
                    <a:gd name="connsiteX8" fmla="*/ 711881 w 1453884"/>
                    <a:gd name="connsiteY8" fmla="*/ 4 h 1231320"/>
                    <a:gd name="connsiteX9" fmla="*/ 695213 w 1453884"/>
                    <a:gd name="connsiteY9" fmla="*/ 264323 h 1231320"/>
                    <a:gd name="connsiteX10" fmla="*/ 642824 w 1453884"/>
                    <a:gd name="connsiteY10" fmla="*/ 1219205 h 1231320"/>
                    <a:gd name="connsiteX11" fmla="*/ 130856 w 1453884"/>
                    <a:gd name="connsiteY11" fmla="*/ 1164437 h 1231320"/>
                    <a:gd name="connsiteX12" fmla="*/ 725 w 1453884"/>
                    <a:gd name="connsiteY12" fmla="*/ 1004670 h 1231320"/>
                    <a:gd name="connsiteX13" fmla="*/ 115025 w 1453884"/>
                    <a:gd name="connsiteY13" fmla="*/ 185251 h 1231320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30"/>
                    <a:gd name="connsiteX1" fmla="*/ 495186 w 1453884"/>
                    <a:gd name="connsiteY1" fmla="*/ 13412 h 1220930"/>
                    <a:gd name="connsiteX2" fmla="*/ 969055 w 1453884"/>
                    <a:gd name="connsiteY2" fmla="*/ 8650 h 1220930"/>
                    <a:gd name="connsiteX3" fmla="*/ 1341370 w 1453884"/>
                    <a:gd name="connsiteY3" fmla="*/ 174846 h 1220930"/>
                    <a:gd name="connsiteX4" fmla="*/ 1453288 w 1453884"/>
                    <a:gd name="connsiteY4" fmla="*/ 1010934 h 1220930"/>
                    <a:gd name="connsiteX5" fmla="*/ 1357201 w 1453884"/>
                    <a:gd name="connsiteY5" fmla="*/ 1132599 h 1220930"/>
                    <a:gd name="connsiteX6" fmla="*/ 849994 w 1453884"/>
                    <a:gd name="connsiteY6" fmla="*/ 1220707 h 1220930"/>
                    <a:gd name="connsiteX7" fmla="*/ 769031 w 1453884"/>
                    <a:gd name="connsiteY7" fmla="*/ 249155 h 1220930"/>
                    <a:gd name="connsiteX8" fmla="*/ 728550 w 1453884"/>
                    <a:gd name="connsiteY8" fmla="*/ 172956 h 1220930"/>
                    <a:gd name="connsiteX9" fmla="*/ 690451 w 1453884"/>
                    <a:gd name="connsiteY9" fmla="*/ 253918 h 1220930"/>
                    <a:gd name="connsiteX10" fmla="*/ 642824 w 1453884"/>
                    <a:gd name="connsiteY10" fmla="*/ 1208800 h 1220930"/>
                    <a:gd name="connsiteX11" fmla="*/ 130856 w 1453884"/>
                    <a:gd name="connsiteY11" fmla="*/ 1154032 h 1220930"/>
                    <a:gd name="connsiteX12" fmla="*/ 725 w 1453884"/>
                    <a:gd name="connsiteY12" fmla="*/ 994265 h 1220930"/>
                    <a:gd name="connsiteX13" fmla="*/ 115025 w 1453884"/>
                    <a:gd name="connsiteY13" fmla="*/ 174846 h 1220930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5135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3592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67224 h 1213085"/>
                    <a:gd name="connsiteX1" fmla="*/ 495186 w 1453884"/>
                    <a:gd name="connsiteY1" fmla="*/ 5790 h 1213085"/>
                    <a:gd name="connsiteX2" fmla="*/ 647987 w 1453884"/>
                    <a:gd name="connsiteY2" fmla="*/ 240080 h 1213085"/>
                    <a:gd name="connsiteX3" fmla="*/ 723592 w 1453884"/>
                    <a:gd name="connsiteY3" fmla="*/ 91958 h 1213085"/>
                    <a:gd name="connsiteX4" fmla="*/ 816169 w 1453884"/>
                    <a:gd name="connsiteY4" fmla="*/ 233908 h 1213085"/>
                    <a:gd name="connsiteX5" fmla="*/ 969055 w 1453884"/>
                    <a:gd name="connsiteY5" fmla="*/ 1028 h 1213085"/>
                    <a:gd name="connsiteX6" fmla="*/ 1341370 w 1453884"/>
                    <a:gd name="connsiteY6" fmla="*/ 167224 h 1213085"/>
                    <a:gd name="connsiteX7" fmla="*/ 1453288 w 1453884"/>
                    <a:gd name="connsiteY7" fmla="*/ 1003312 h 1213085"/>
                    <a:gd name="connsiteX8" fmla="*/ 1357201 w 1453884"/>
                    <a:gd name="connsiteY8" fmla="*/ 1124977 h 1213085"/>
                    <a:gd name="connsiteX9" fmla="*/ 838087 w 1453884"/>
                    <a:gd name="connsiteY9" fmla="*/ 1213085 h 1213085"/>
                    <a:gd name="connsiteX10" fmla="*/ 769031 w 1453884"/>
                    <a:gd name="connsiteY10" fmla="*/ 241533 h 1213085"/>
                    <a:gd name="connsiteX11" fmla="*/ 728550 w 1453884"/>
                    <a:gd name="connsiteY11" fmla="*/ 165334 h 1213085"/>
                    <a:gd name="connsiteX12" fmla="*/ 690451 w 1453884"/>
                    <a:gd name="connsiteY12" fmla="*/ 246296 h 1213085"/>
                    <a:gd name="connsiteX13" fmla="*/ 642824 w 1453884"/>
                    <a:gd name="connsiteY13" fmla="*/ 1201178 h 1213085"/>
                    <a:gd name="connsiteX14" fmla="*/ 130856 w 1453884"/>
                    <a:gd name="connsiteY14" fmla="*/ 1146410 h 1213085"/>
                    <a:gd name="connsiteX15" fmla="*/ 725 w 1453884"/>
                    <a:gd name="connsiteY15" fmla="*/ 986643 h 1213085"/>
                    <a:gd name="connsiteX16" fmla="*/ 115025 w 1453884"/>
                    <a:gd name="connsiteY16" fmla="*/ 167224 h 1213085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53884" h="1216685">
                      <a:moveTo>
                        <a:pt x="115025" y="170824"/>
                      </a:moveTo>
                      <a:cubicBezTo>
                        <a:pt x="166340" y="87644"/>
                        <a:pt x="394437" y="20694"/>
                        <a:pt x="495186" y="9390"/>
                      </a:cubicBezTo>
                      <a:cubicBezTo>
                        <a:pt x="547239" y="89423"/>
                        <a:pt x="596032" y="166059"/>
                        <a:pt x="647987" y="243680"/>
                      </a:cubicBezTo>
                      <a:cubicBezTo>
                        <a:pt x="695313" y="171635"/>
                        <a:pt x="687310" y="181687"/>
                        <a:pt x="728221" y="123330"/>
                      </a:cubicBezTo>
                      <a:cubicBezTo>
                        <a:pt x="779910" y="194563"/>
                        <a:pt x="766001" y="175517"/>
                        <a:pt x="816169" y="237508"/>
                      </a:cubicBezTo>
                      <a:cubicBezTo>
                        <a:pt x="870966" y="148292"/>
                        <a:pt x="911353" y="83375"/>
                        <a:pt x="964427" y="0"/>
                      </a:cubicBezTo>
                      <a:cubicBezTo>
                        <a:pt x="1114725" y="48255"/>
                        <a:pt x="1298227" y="113044"/>
                        <a:pt x="1341370" y="170824"/>
                      </a:cubicBezTo>
                      <a:lnTo>
                        <a:pt x="1453288" y="1006912"/>
                      </a:lnTo>
                      <a:cubicBezTo>
                        <a:pt x="1457515" y="1075256"/>
                        <a:pt x="1440684" y="1112665"/>
                        <a:pt x="1357201" y="1128577"/>
                      </a:cubicBezTo>
                      <a:cubicBezTo>
                        <a:pt x="1257049" y="1163539"/>
                        <a:pt x="961515" y="1197238"/>
                        <a:pt x="838087" y="1216685"/>
                      </a:cubicBezTo>
                      <a:cubicBezTo>
                        <a:pt x="803957" y="973798"/>
                        <a:pt x="753950" y="364989"/>
                        <a:pt x="769031" y="245133"/>
                      </a:cubicBezTo>
                      <a:cubicBezTo>
                        <a:pt x="746983" y="204562"/>
                        <a:pt x="755140" y="219689"/>
                        <a:pt x="728550" y="168934"/>
                      </a:cubicBezTo>
                      <a:cubicBezTo>
                        <a:pt x="709237" y="207828"/>
                        <a:pt x="708971" y="209063"/>
                        <a:pt x="690451" y="249896"/>
                      </a:cubicBezTo>
                      <a:cubicBezTo>
                        <a:pt x="683308" y="463415"/>
                        <a:pt x="663461" y="896803"/>
                        <a:pt x="642824" y="1204778"/>
                      </a:cubicBezTo>
                      <a:cubicBezTo>
                        <a:pt x="418847" y="1209578"/>
                        <a:pt x="238666" y="1181003"/>
                        <a:pt x="130856" y="1150010"/>
                      </a:cubicBezTo>
                      <a:cubicBezTo>
                        <a:pt x="68429" y="1137235"/>
                        <a:pt x="-8285" y="1093505"/>
                        <a:pt x="725" y="990243"/>
                      </a:cubicBezTo>
                      <a:lnTo>
                        <a:pt x="115025" y="1708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  <p:sp>
              <p:nvSpPr>
                <p:cNvPr id="56" name="Rectangle 93">
                  <a:extLst>
                    <a:ext uri="{FF2B5EF4-FFF2-40B4-BE49-F238E27FC236}">
                      <a16:creationId xmlns:a16="http://schemas.microsoft.com/office/drawing/2014/main" id="{141178CF-60E2-4F55-B931-F682D1916F11}"/>
                    </a:ext>
                  </a:extLst>
                </p:cNvPr>
                <p:cNvSpPr/>
                <p:nvPr/>
              </p:nvSpPr>
              <p:spPr>
                <a:xfrm>
                  <a:off x="4179962" y="2616196"/>
                  <a:ext cx="1165892" cy="1559218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0 w 1147764"/>
                    <a:gd name="connsiteY0" fmla="*/ 14288 h 583676"/>
                    <a:gd name="connsiteX1" fmla="*/ 1147764 w 1147764"/>
                    <a:gd name="connsiteY1" fmla="*/ 0 h 583676"/>
                    <a:gd name="connsiteX2" fmla="*/ 1147764 w 1147764"/>
                    <a:gd name="connsiteY2" fmla="*/ 583676 h 583676"/>
                    <a:gd name="connsiteX3" fmla="*/ 471488 w 1147764"/>
                    <a:gd name="connsiteY3" fmla="*/ 583676 h 583676"/>
                    <a:gd name="connsiteX4" fmla="*/ 0 w 1147764"/>
                    <a:gd name="connsiteY4" fmla="*/ 14288 h 583676"/>
                    <a:gd name="connsiteX0" fmla="*/ 38099 w 1185863"/>
                    <a:gd name="connsiteY0" fmla="*/ 376238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38099 w 1185863"/>
                    <a:gd name="connsiteY4" fmla="*/ 376238 h 945626"/>
                    <a:gd name="connsiteX0" fmla="*/ 57149 w 1185863"/>
                    <a:gd name="connsiteY0" fmla="*/ 438151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57149 w 1185863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52501"/>
                    <a:gd name="connsiteY0" fmla="*/ 438151 h 945626"/>
                    <a:gd name="connsiteX1" fmla="*/ 0 w 952501"/>
                    <a:gd name="connsiteY1" fmla="*/ 0 h 945626"/>
                    <a:gd name="connsiteX2" fmla="*/ 952501 w 952501"/>
                    <a:gd name="connsiteY2" fmla="*/ 412226 h 945626"/>
                    <a:gd name="connsiteX3" fmla="*/ 509587 w 952501"/>
                    <a:gd name="connsiteY3" fmla="*/ 945626 h 945626"/>
                    <a:gd name="connsiteX4" fmla="*/ 57149 w 952501"/>
                    <a:gd name="connsiteY4" fmla="*/ 438151 h 945626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88899 w 984251"/>
                    <a:gd name="connsiteY0" fmla="*/ 406401 h 928164"/>
                    <a:gd name="connsiteX1" fmla="*/ 0 w 984251"/>
                    <a:gd name="connsiteY1" fmla="*/ 0 h 928164"/>
                    <a:gd name="connsiteX2" fmla="*/ 984251 w 984251"/>
                    <a:gd name="connsiteY2" fmla="*/ 380476 h 928164"/>
                    <a:gd name="connsiteX3" fmla="*/ 541337 w 984251"/>
                    <a:gd name="connsiteY3" fmla="*/ 928164 h 928164"/>
                    <a:gd name="connsiteX4" fmla="*/ 88899 w 984251"/>
                    <a:gd name="connsiteY4" fmla="*/ 406401 h 928164"/>
                    <a:gd name="connsiteX0" fmla="*/ 92074 w 987426"/>
                    <a:gd name="connsiteY0" fmla="*/ 444501 h 966264"/>
                    <a:gd name="connsiteX1" fmla="*/ 0 w 987426"/>
                    <a:gd name="connsiteY1" fmla="*/ 0 h 966264"/>
                    <a:gd name="connsiteX2" fmla="*/ 987426 w 987426"/>
                    <a:gd name="connsiteY2" fmla="*/ 418576 h 966264"/>
                    <a:gd name="connsiteX3" fmla="*/ 544512 w 987426"/>
                    <a:gd name="connsiteY3" fmla="*/ 966264 h 966264"/>
                    <a:gd name="connsiteX4" fmla="*/ 92074 w 987426"/>
                    <a:gd name="connsiteY4" fmla="*/ 444501 h 966264"/>
                    <a:gd name="connsiteX0" fmla="*/ 104774 w 1000126"/>
                    <a:gd name="connsiteY0" fmla="*/ 431801 h 953564"/>
                    <a:gd name="connsiteX1" fmla="*/ 0 w 1000126"/>
                    <a:gd name="connsiteY1" fmla="*/ 0 h 953564"/>
                    <a:gd name="connsiteX2" fmla="*/ 1000126 w 1000126"/>
                    <a:gd name="connsiteY2" fmla="*/ 405876 h 953564"/>
                    <a:gd name="connsiteX3" fmla="*/ 557212 w 1000126"/>
                    <a:gd name="connsiteY3" fmla="*/ 953564 h 953564"/>
                    <a:gd name="connsiteX4" fmla="*/ 104774 w 1000126"/>
                    <a:gd name="connsiteY4" fmla="*/ 431801 h 953564"/>
                    <a:gd name="connsiteX0" fmla="*/ 128962 w 1024314"/>
                    <a:gd name="connsiteY0" fmla="*/ 431801 h 953564"/>
                    <a:gd name="connsiteX1" fmla="*/ 24188 w 1024314"/>
                    <a:gd name="connsiteY1" fmla="*/ 0 h 953564"/>
                    <a:gd name="connsiteX2" fmla="*/ 1024314 w 1024314"/>
                    <a:gd name="connsiteY2" fmla="*/ 405876 h 953564"/>
                    <a:gd name="connsiteX3" fmla="*/ 581400 w 1024314"/>
                    <a:gd name="connsiteY3" fmla="*/ 953564 h 953564"/>
                    <a:gd name="connsiteX4" fmla="*/ 128962 w 1024314"/>
                    <a:gd name="connsiteY4" fmla="*/ 431801 h 953564"/>
                    <a:gd name="connsiteX0" fmla="*/ 138991 w 1034343"/>
                    <a:gd name="connsiteY0" fmla="*/ 431801 h 953564"/>
                    <a:gd name="connsiteX1" fmla="*/ 34217 w 1034343"/>
                    <a:gd name="connsiteY1" fmla="*/ 0 h 953564"/>
                    <a:gd name="connsiteX2" fmla="*/ 1034343 w 1034343"/>
                    <a:gd name="connsiteY2" fmla="*/ 405876 h 953564"/>
                    <a:gd name="connsiteX3" fmla="*/ 591429 w 1034343"/>
                    <a:gd name="connsiteY3" fmla="*/ 953564 h 953564"/>
                    <a:gd name="connsiteX4" fmla="*/ 138991 w 1034343"/>
                    <a:gd name="connsiteY4" fmla="*/ 4318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31495 w 1023672"/>
                    <a:gd name="connsiteY0" fmla="*/ 406401 h 953564"/>
                    <a:gd name="connsiteX1" fmla="*/ 36246 w 1023672"/>
                    <a:gd name="connsiteY1" fmla="*/ 0 h 953564"/>
                    <a:gd name="connsiteX2" fmla="*/ 1023672 w 1023672"/>
                    <a:gd name="connsiteY2" fmla="*/ 405876 h 953564"/>
                    <a:gd name="connsiteX3" fmla="*/ 580758 w 1023672"/>
                    <a:gd name="connsiteY3" fmla="*/ 953564 h 953564"/>
                    <a:gd name="connsiteX4" fmla="*/ 131495 w 1023672"/>
                    <a:gd name="connsiteY4" fmla="*/ 406401 h 953564"/>
                    <a:gd name="connsiteX0" fmla="*/ 137112 w 1029289"/>
                    <a:gd name="connsiteY0" fmla="*/ 406401 h 953564"/>
                    <a:gd name="connsiteX1" fmla="*/ 41863 w 1029289"/>
                    <a:gd name="connsiteY1" fmla="*/ 0 h 953564"/>
                    <a:gd name="connsiteX2" fmla="*/ 1029289 w 1029289"/>
                    <a:gd name="connsiteY2" fmla="*/ 405876 h 953564"/>
                    <a:gd name="connsiteX3" fmla="*/ 586375 w 1029289"/>
                    <a:gd name="connsiteY3" fmla="*/ 953564 h 953564"/>
                    <a:gd name="connsiteX4" fmla="*/ 137112 w 1029289"/>
                    <a:gd name="connsiteY4" fmla="*/ 406401 h 953564"/>
                    <a:gd name="connsiteX0" fmla="*/ 137112 w 1038814"/>
                    <a:gd name="connsiteY0" fmla="*/ 406401 h 953564"/>
                    <a:gd name="connsiteX1" fmla="*/ 41863 w 1038814"/>
                    <a:gd name="connsiteY1" fmla="*/ 0 h 953564"/>
                    <a:gd name="connsiteX2" fmla="*/ 1038814 w 1038814"/>
                    <a:gd name="connsiteY2" fmla="*/ 399526 h 953564"/>
                    <a:gd name="connsiteX3" fmla="*/ 586375 w 1038814"/>
                    <a:gd name="connsiteY3" fmla="*/ 953564 h 953564"/>
                    <a:gd name="connsiteX4" fmla="*/ 137112 w 1038814"/>
                    <a:gd name="connsiteY4" fmla="*/ 406401 h 953564"/>
                    <a:gd name="connsiteX0" fmla="*/ 137112 w 1101380"/>
                    <a:gd name="connsiteY0" fmla="*/ 415417 h 962580"/>
                    <a:gd name="connsiteX1" fmla="*/ 41863 w 1101380"/>
                    <a:gd name="connsiteY1" fmla="*/ 9016 h 962580"/>
                    <a:gd name="connsiteX2" fmla="*/ 1101380 w 1101380"/>
                    <a:gd name="connsiteY2" fmla="*/ 38363 h 962580"/>
                    <a:gd name="connsiteX3" fmla="*/ 1038814 w 1101380"/>
                    <a:gd name="connsiteY3" fmla="*/ 408542 h 962580"/>
                    <a:gd name="connsiteX4" fmla="*/ 586375 w 1101380"/>
                    <a:gd name="connsiteY4" fmla="*/ 962580 h 962580"/>
                    <a:gd name="connsiteX5" fmla="*/ 137112 w 1101380"/>
                    <a:gd name="connsiteY5" fmla="*/ 415417 h 962580"/>
                    <a:gd name="connsiteX0" fmla="*/ 137112 w 1138004"/>
                    <a:gd name="connsiteY0" fmla="*/ 415417 h 962580"/>
                    <a:gd name="connsiteX1" fmla="*/ 41863 w 1138004"/>
                    <a:gd name="connsiteY1" fmla="*/ 9016 h 962580"/>
                    <a:gd name="connsiteX2" fmla="*/ 1101380 w 1138004"/>
                    <a:gd name="connsiteY2" fmla="*/ 38363 h 962580"/>
                    <a:gd name="connsiteX3" fmla="*/ 1038814 w 1138004"/>
                    <a:gd name="connsiteY3" fmla="*/ 408542 h 962580"/>
                    <a:gd name="connsiteX4" fmla="*/ 586375 w 1138004"/>
                    <a:gd name="connsiteY4" fmla="*/ 962580 h 962580"/>
                    <a:gd name="connsiteX5" fmla="*/ 137112 w 1138004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68722"/>
                    <a:gd name="connsiteY0" fmla="*/ 426386 h 973549"/>
                    <a:gd name="connsiteX1" fmla="*/ 41863 w 1168722"/>
                    <a:gd name="connsiteY1" fmla="*/ 19985 h 973549"/>
                    <a:gd name="connsiteX2" fmla="*/ 1120430 w 1168722"/>
                    <a:gd name="connsiteY2" fmla="*/ 36632 h 973549"/>
                    <a:gd name="connsiteX3" fmla="*/ 1038814 w 1168722"/>
                    <a:gd name="connsiteY3" fmla="*/ 419511 h 973549"/>
                    <a:gd name="connsiteX4" fmla="*/ 586375 w 1168722"/>
                    <a:gd name="connsiteY4" fmla="*/ 973549 h 973549"/>
                    <a:gd name="connsiteX5" fmla="*/ 137112 w 1168722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4813 h 971976"/>
                    <a:gd name="connsiteX1" fmla="*/ 41863 w 1150379"/>
                    <a:gd name="connsiteY1" fmla="*/ 31112 h 971976"/>
                    <a:gd name="connsiteX2" fmla="*/ 1120430 w 1150379"/>
                    <a:gd name="connsiteY2" fmla="*/ 35059 h 971976"/>
                    <a:gd name="connsiteX3" fmla="*/ 1038814 w 1150379"/>
                    <a:gd name="connsiteY3" fmla="*/ 417938 h 971976"/>
                    <a:gd name="connsiteX4" fmla="*/ 586375 w 1150379"/>
                    <a:gd name="connsiteY4" fmla="*/ 971976 h 971976"/>
                    <a:gd name="connsiteX5" fmla="*/ 137112 w 1150379"/>
                    <a:gd name="connsiteY5" fmla="*/ 424813 h 971976"/>
                    <a:gd name="connsiteX0" fmla="*/ 137112 w 1150379"/>
                    <a:gd name="connsiteY0" fmla="*/ 1015229 h 1562392"/>
                    <a:gd name="connsiteX1" fmla="*/ 41863 w 1150379"/>
                    <a:gd name="connsiteY1" fmla="*/ 621528 h 1562392"/>
                    <a:gd name="connsiteX2" fmla="*/ 587031 w 1150379"/>
                    <a:gd name="connsiteY2" fmla="*/ 0 h 1562392"/>
                    <a:gd name="connsiteX3" fmla="*/ 1120430 w 1150379"/>
                    <a:gd name="connsiteY3" fmla="*/ 625475 h 1562392"/>
                    <a:gd name="connsiteX4" fmla="*/ 1038814 w 1150379"/>
                    <a:gd name="connsiteY4" fmla="*/ 1008354 h 1562392"/>
                    <a:gd name="connsiteX5" fmla="*/ 586375 w 1150379"/>
                    <a:gd name="connsiteY5" fmla="*/ 1562392 h 1562392"/>
                    <a:gd name="connsiteX6" fmla="*/ 137112 w 1150379"/>
                    <a:gd name="connsiteY6" fmla="*/ 1015229 h 1562392"/>
                    <a:gd name="connsiteX0" fmla="*/ 134670 w 1147937"/>
                    <a:gd name="connsiteY0" fmla="*/ 1015229 h 1562392"/>
                    <a:gd name="connsiteX1" fmla="*/ 42596 w 1147937"/>
                    <a:gd name="connsiteY1" fmla="*/ 637403 h 1562392"/>
                    <a:gd name="connsiteX2" fmla="*/ 584589 w 1147937"/>
                    <a:gd name="connsiteY2" fmla="*/ 0 h 1562392"/>
                    <a:gd name="connsiteX3" fmla="*/ 1117988 w 1147937"/>
                    <a:gd name="connsiteY3" fmla="*/ 625475 h 1562392"/>
                    <a:gd name="connsiteX4" fmla="*/ 1036372 w 1147937"/>
                    <a:gd name="connsiteY4" fmla="*/ 1008354 h 1562392"/>
                    <a:gd name="connsiteX5" fmla="*/ 583933 w 1147937"/>
                    <a:gd name="connsiteY5" fmla="*/ 1562392 h 1562392"/>
                    <a:gd name="connsiteX6" fmla="*/ 134670 w 1147937"/>
                    <a:gd name="connsiteY6" fmla="*/ 1015229 h 1562392"/>
                    <a:gd name="connsiteX0" fmla="*/ 144566 w 1157833"/>
                    <a:gd name="connsiteY0" fmla="*/ 1015229 h 1562392"/>
                    <a:gd name="connsiteX1" fmla="*/ 39792 w 1157833"/>
                    <a:gd name="connsiteY1" fmla="*/ 640578 h 1562392"/>
                    <a:gd name="connsiteX2" fmla="*/ 594485 w 1157833"/>
                    <a:gd name="connsiteY2" fmla="*/ 0 h 1562392"/>
                    <a:gd name="connsiteX3" fmla="*/ 1127884 w 1157833"/>
                    <a:gd name="connsiteY3" fmla="*/ 625475 h 1562392"/>
                    <a:gd name="connsiteX4" fmla="*/ 1046268 w 1157833"/>
                    <a:gd name="connsiteY4" fmla="*/ 1008354 h 1562392"/>
                    <a:gd name="connsiteX5" fmla="*/ 593829 w 1157833"/>
                    <a:gd name="connsiteY5" fmla="*/ 1562392 h 1562392"/>
                    <a:gd name="connsiteX6" fmla="*/ 144566 w 1157833"/>
                    <a:gd name="connsiteY6" fmla="*/ 1015229 h 1562392"/>
                    <a:gd name="connsiteX0" fmla="*/ 137601 w 1150868"/>
                    <a:gd name="connsiteY0" fmla="*/ 1015229 h 1562392"/>
                    <a:gd name="connsiteX1" fmla="*/ 32827 w 1150868"/>
                    <a:gd name="connsiteY1" fmla="*/ 640578 h 1562392"/>
                    <a:gd name="connsiteX2" fmla="*/ 587520 w 1150868"/>
                    <a:gd name="connsiteY2" fmla="*/ 0 h 1562392"/>
                    <a:gd name="connsiteX3" fmla="*/ 1120919 w 1150868"/>
                    <a:gd name="connsiteY3" fmla="*/ 625475 h 1562392"/>
                    <a:gd name="connsiteX4" fmla="*/ 1039303 w 1150868"/>
                    <a:gd name="connsiteY4" fmla="*/ 1008354 h 1562392"/>
                    <a:gd name="connsiteX5" fmla="*/ 586864 w 1150868"/>
                    <a:gd name="connsiteY5" fmla="*/ 1562392 h 1562392"/>
                    <a:gd name="connsiteX6" fmla="*/ 137601 w 1150868"/>
                    <a:gd name="connsiteY6" fmla="*/ 1015229 h 1562392"/>
                    <a:gd name="connsiteX0" fmla="*/ 137601 w 1150868"/>
                    <a:gd name="connsiteY0" fmla="*/ 1015230 h 1562393"/>
                    <a:gd name="connsiteX1" fmla="*/ 32827 w 1150868"/>
                    <a:gd name="connsiteY1" fmla="*/ 640579 h 1562393"/>
                    <a:gd name="connsiteX2" fmla="*/ 587520 w 1150868"/>
                    <a:gd name="connsiteY2" fmla="*/ 1 h 1562393"/>
                    <a:gd name="connsiteX3" fmla="*/ 1120919 w 1150868"/>
                    <a:gd name="connsiteY3" fmla="*/ 625476 h 1562393"/>
                    <a:gd name="connsiteX4" fmla="*/ 1039303 w 1150868"/>
                    <a:gd name="connsiteY4" fmla="*/ 1008355 h 1562393"/>
                    <a:gd name="connsiteX5" fmla="*/ 586864 w 1150868"/>
                    <a:gd name="connsiteY5" fmla="*/ 1562393 h 1562393"/>
                    <a:gd name="connsiteX6" fmla="*/ 137601 w 1150868"/>
                    <a:gd name="connsiteY6" fmla="*/ 1015230 h 1562393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970790 h 1517953"/>
                    <a:gd name="connsiteX1" fmla="*/ 32827 w 1150868"/>
                    <a:gd name="connsiteY1" fmla="*/ 596139 h 1517953"/>
                    <a:gd name="connsiteX2" fmla="*/ 600220 w 1150868"/>
                    <a:gd name="connsiteY2" fmla="*/ 11 h 1517953"/>
                    <a:gd name="connsiteX3" fmla="*/ 1120919 w 1150868"/>
                    <a:gd name="connsiteY3" fmla="*/ 581036 h 1517953"/>
                    <a:gd name="connsiteX4" fmla="*/ 1039303 w 1150868"/>
                    <a:gd name="connsiteY4" fmla="*/ 963915 h 1517953"/>
                    <a:gd name="connsiteX5" fmla="*/ 586864 w 1150868"/>
                    <a:gd name="connsiteY5" fmla="*/ 1517953 h 1517953"/>
                    <a:gd name="connsiteX6" fmla="*/ 137601 w 1150868"/>
                    <a:gd name="connsiteY6" fmla="*/ 970790 h 1517953"/>
                    <a:gd name="connsiteX0" fmla="*/ 137601 w 1150868"/>
                    <a:gd name="connsiteY0" fmla="*/ 1040632 h 1587795"/>
                    <a:gd name="connsiteX1" fmla="*/ 32827 w 1150868"/>
                    <a:gd name="connsiteY1" fmla="*/ 665981 h 1587795"/>
                    <a:gd name="connsiteX2" fmla="*/ 587520 w 1150868"/>
                    <a:gd name="connsiteY2" fmla="*/ 3 h 1587795"/>
                    <a:gd name="connsiteX3" fmla="*/ 1120919 w 1150868"/>
                    <a:gd name="connsiteY3" fmla="*/ 650878 h 1587795"/>
                    <a:gd name="connsiteX4" fmla="*/ 1039303 w 1150868"/>
                    <a:gd name="connsiteY4" fmla="*/ 1033757 h 1587795"/>
                    <a:gd name="connsiteX5" fmla="*/ 586864 w 1150868"/>
                    <a:gd name="connsiteY5" fmla="*/ 1587795 h 1587795"/>
                    <a:gd name="connsiteX6" fmla="*/ 137601 w 1150868"/>
                    <a:gd name="connsiteY6" fmla="*/ 1040632 h 1587795"/>
                    <a:gd name="connsiteX0" fmla="*/ 137601 w 1163567"/>
                    <a:gd name="connsiteY0" fmla="*/ 1040632 h 1587795"/>
                    <a:gd name="connsiteX1" fmla="*/ 32827 w 1163567"/>
                    <a:gd name="connsiteY1" fmla="*/ 665981 h 1587795"/>
                    <a:gd name="connsiteX2" fmla="*/ 587520 w 1163567"/>
                    <a:gd name="connsiteY2" fmla="*/ 3 h 1587795"/>
                    <a:gd name="connsiteX3" fmla="*/ 1120919 w 1163567"/>
                    <a:gd name="connsiteY3" fmla="*/ 650878 h 1587795"/>
                    <a:gd name="connsiteX4" fmla="*/ 1039303 w 1163567"/>
                    <a:gd name="connsiteY4" fmla="*/ 1033757 h 1587795"/>
                    <a:gd name="connsiteX5" fmla="*/ 586864 w 1163567"/>
                    <a:gd name="connsiteY5" fmla="*/ 1587795 h 1587795"/>
                    <a:gd name="connsiteX6" fmla="*/ 137601 w 1163567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7998"/>
                    <a:gd name="connsiteY0" fmla="*/ 1040632 h 1587795"/>
                    <a:gd name="connsiteX1" fmla="*/ 32827 w 1167998"/>
                    <a:gd name="connsiteY1" fmla="*/ 665981 h 1587795"/>
                    <a:gd name="connsiteX2" fmla="*/ 587520 w 1167998"/>
                    <a:gd name="connsiteY2" fmla="*/ 3 h 1587795"/>
                    <a:gd name="connsiteX3" fmla="*/ 1120919 w 1167998"/>
                    <a:gd name="connsiteY3" fmla="*/ 650878 h 1587795"/>
                    <a:gd name="connsiteX4" fmla="*/ 1039303 w 1167998"/>
                    <a:gd name="connsiteY4" fmla="*/ 1033757 h 1587795"/>
                    <a:gd name="connsiteX5" fmla="*/ 586864 w 1167998"/>
                    <a:gd name="connsiteY5" fmla="*/ 1587795 h 1587795"/>
                    <a:gd name="connsiteX6" fmla="*/ 137601 w 1167998"/>
                    <a:gd name="connsiteY6" fmla="*/ 1040632 h 1587795"/>
                    <a:gd name="connsiteX0" fmla="*/ 137601 w 1165890"/>
                    <a:gd name="connsiteY0" fmla="*/ 1040632 h 1587795"/>
                    <a:gd name="connsiteX1" fmla="*/ 32827 w 1165890"/>
                    <a:gd name="connsiteY1" fmla="*/ 665981 h 1587795"/>
                    <a:gd name="connsiteX2" fmla="*/ 587520 w 1165890"/>
                    <a:gd name="connsiteY2" fmla="*/ 3 h 1587795"/>
                    <a:gd name="connsiteX3" fmla="*/ 1120919 w 1165890"/>
                    <a:gd name="connsiteY3" fmla="*/ 650878 h 1587795"/>
                    <a:gd name="connsiteX4" fmla="*/ 1039303 w 1165890"/>
                    <a:gd name="connsiteY4" fmla="*/ 1033757 h 1587795"/>
                    <a:gd name="connsiteX5" fmla="*/ 586864 w 1165890"/>
                    <a:gd name="connsiteY5" fmla="*/ 1587795 h 1587795"/>
                    <a:gd name="connsiteX6" fmla="*/ 137601 w 1165890"/>
                    <a:gd name="connsiteY6" fmla="*/ 1040632 h 1587795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890" h="1559220">
                      <a:moveTo>
                        <a:pt x="137601" y="1040632"/>
                      </a:moveTo>
                      <a:cubicBezTo>
                        <a:pt x="29651" y="1014173"/>
                        <a:pt x="-46548" y="813090"/>
                        <a:pt x="32827" y="665981"/>
                      </a:cubicBezTo>
                      <a:cubicBezTo>
                        <a:pt x="16268" y="96726"/>
                        <a:pt x="407759" y="-655"/>
                        <a:pt x="587520" y="3"/>
                      </a:cubicBezTo>
                      <a:cubicBezTo>
                        <a:pt x="767281" y="661"/>
                        <a:pt x="1141401" y="95469"/>
                        <a:pt x="1120919" y="650878"/>
                      </a:cubicBezTo>
                      <a:cubicBezTo>
                        <a:pt x="1206427" y="725058"/>
                        <a:pt x="1164933" y="998471"/>
                        <a:pt x="1039303" y="1033757"/>
                      </a:cubicBezTo>
                      <a:cubicBezTo>
                        <a:pt x="994853" y="1236957"/>
                        <a:pt x="898149" y="1546588"/>
                        <a:pt x="586864" y="1559220"/>
                      </a:cubicBezTo>
                      <a:cubicBezTo>
                        <a:pt x="264458" y="1525853"/>
                        <a:pt x="264602" y="1295516"/>
                        <a:pt x="137601" y="10406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</p:grp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26A03521-1EC6-49DB-AA5A-63AFA5963242}"/>
                </a:ext>
              </a:extLst>
            </p:cNvPr>
            <p:cNvGrpSpPr/>
            <p:nvPr/>
          </p:nvGrpSpPr>
          <p:grpSpPr>
            <a:xfrm>
              <a:off x="6084828" y="5121953"/>
              <a:ext cx="844168" cy="967618"/>
              <a:chOff x="2314511" y="1088057"/>
              <a:chExt cx="4224883" cy="4842727"/>
            </a:xfrm>
            <a:solidFill>
              <a:schemeClr val="bg1">
                <a:lumMod val="65000"/>
              </a:schemeClr>
            </a:solidFill>
          </p:grpSpPr>
          <p:sp>
            <p:nvSpPr>
              <p:cNvPr id="58" name="Freeform 226">
                <a:extLst>
                  <a:ext uri="{FF2B5EF4-FFF2-40B4-BE49-F238E27FC236}">
                    <a16:creationId xmlns:a16="http://schemas.microsoft.com/office/drawing/2014/main" id="{F53AFC39-030C-4A89-B4FE-8ED87EBA2AF5}"/>
                  </a:ext>
                </a:extLst>
              </p:cNvPr>
              <p:cNvSpPr/>
              <p:nvPr/>
            </p:nvSpPr>
            <p:spPr>
              <a:xfrm>
                <a:off x="2314511" y="1088057"/>
                <a:ext cx="4224883" cy="4210807"/>
              </a:xfrm>
              <a:custGeom>
                <a:avLst/>
                <a:gdLst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803372 w 4224883"/>
                  <a:gd name="connsiteY26" fmla="*/ 3927404 h 4210806"/>
                  <a:gd name="connsiteX27" fmla="*/ 1779302 w 4224883"/>
                  <a:gd name="connsiteY27" fmla="*/ 4210806 h 4210806"/>
                  <a:gd name="connsiteX28" fmla="*/ 1167066 w 4224883"/>
                  <a:gd name="connsiteY28" fmla="*/ 4055952 h 4210806"/>
                  <a:gd name="connsiteX29" fmla="*/ 1245256 w 4224883"/>
                  <a:gd name="connsiteY29" fmla="*/ 3746819 h 4210806"/>
                  <a:gd name="connsiteX30" fmla="*/ 1207852 w 4224883"/>
                  <a:gd name="connsiteY30" fmla="*/ 3728800 h 4210806"/>
                  <a:gd name="connsiteX31" fmla="*/ 782723 w 4224883"/>
                  <a:gd name="connsiteY31" fmla="*/ 3411129 h 4210806"/>
                  <a:gd name="connsiteX32" fmla="*/ 668756 w 4224883"/>
                  <a:gd name="connsiteY32" fmla="*/ 3285733 h 4210806"/>
                  <a:gd name="connsiteX33" fmla="*/ 445204 w 4224883"/>
                  <a:gd name="connsiteY33" fmla="*/ 3415032 h 4210806"/>
                  <a:gd name="connsiteX34" fmla="*/ 92007 w 4224883"/>
                  <a:gd name="connsiteY34" fmla="*/ 2804367 h 4210806"/>
                  <a:gd name="connsiteX35" fmla="*/ 329613 w 4224883"/>
                  <a:gd name="connsiteY35" fmla="*/ 2666940 h 4210806"/>
                  <a:gd name="connsiteX36" fmla="*/ 325333 w 4224883"/>
                  <a:gd name="connsiteY36" fmla="*/ 2655246 h 4210806"/>
                  <a:gd name="connsiteX37" fmla="*/ 242395 w 4224883"/>
                  <a:gd name="connsiteY37" fmla="*/ 2106659 h 4210806"/>
                  <a:gd name="connsiteX38" fmla="*/ 253268 w 4224883"/>
                  <a:gd name="connsiteY38" fmla="*/ 1915189 h 4210806"/>
                  <a:gd name="connsiteX39" fmla="*/ 0 w 4224883"/>
                  <a:gd name="connsiteY39" fmla="*/ 1836730 h 4210806"/>
                  <a:gd name="connsiteX40" fmla="*/ 205679 w 4224883"/>
                  <a:gd name="connsiteY40" fmla="*/ 1172801 h 4210806"/>
                  <a:gd name="connsiteX41" fmla="*/ 455529 w 4224883"/>
                  <a:gd name="connsiteY41" fmla="*/ 1250203 h 4210806"/>
                  <a:gd name="connsiteX42" fmla="*/ 521138 w 4224883"/>
                  <a:gd name="connsiteY42" fmla="*/ 1131122 h 4210806"/>
                  <a:gd name="connsiteX43" fmla="*/ 913729 w 4224883"/>
                  <a:gd name="connsiteY43" fmla="*/ 683123 h 4210806"/>
                  <a:gd name="connsiteX44" fmla="*/ 934290 w 4224883"/>
                  <a:gd name="connsiteY44" fmla="*/ 667748 h 4210806"/>
                  <a:gd name="connsiteX45" fmla="*/ 801376 w 4224883"/>
                  <a:gd name="connsiteY45" fmla="*/ 413509 h 4210806"/>
                  <a:gd name="connsiteX46" fmla="*/ 1417336 w 4224883"/>
                  <a:gd name="connsiteY46" fmla="*/ 91489 h 4210806"/>
                  <a:gd name="connsiteX47" fmla="*/ 1548443 w 4224883"/>
                  <a:gd name="connsiteY47" fmla="*/ 342270 h 4210806"/>
                  <a:gd name="connsiteX48" fmla="*/ 1715401 w 4224883"/>
                  <a:gd name="connsiteY48" fmla="*/ 299341 h 4210806"/>
                  <a:gd name="connsiteX49" fmla="*/ 2087192 w 4224883"/>
                  <a:gd name="connsiteY49" fmla="*/ 261861 h 4210806"/>
                  <a:gd name="connsiteX50" fmla="*/ 2275812 w 4224883"/>
                  <a:gd name="connsiteY50" fmla="*/ 271386 h 4210806"/>
                  <a:gd name="connsiteX51" fmla="*/ 2312708 w 4224883"/>
                  <a:gd name="connsiteY51" fmla="*/ 277017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825540 w 4224883"/>
                  <a:gd name="connsiteY25" fmla="*/ 3930787 h 4210806"/>
                  <a:gd name="connsiteX26" fmla="*/ 1779302 w 4224883"/>
                  <a:gd name="connsiteY26" fmla="*/ 4210806 h 4210806"/>
                  <a:gd name="connsiteX27" fmla="*/ 1167066 w 4224883"/>
                  <a:gd name="connsiteY27" fmla="*/ 4055952 h 4210806"/>
                  <a:gd name="connsiteX28" fmla="*/ 1245256 w 4224883"/>
                  <a:gd name="connsiteY28" fmla="*/ 3746819 h 4210806"/>
                  <a:gd name="connsiteX29" fmla="*/ 1207852 w 4224883"/>
                  <a:gd name="connsiteY29" fmla="*/ 3728800 h 4210806"/>
                  <a:gd name="connsiteX30" fmla="*/ 782723 w 4224883"/>
                  <a:gd name="connsiteY30" fmla="*/ 3411129 h 4210806"/>
                  <a:gd name="connsiteX31" fmla="*/ 668756 w 4224883"/>
                  <a:gd name="connsiteY31" fmla="*/ 3285733 h 4210806"/>
                  <a:gd name="connsiteX32" fmla="*/ 445204 w 4224883"/>
                  <a:gd name="connsiteY32" fmla="*/ 3415032 h 4210806"/>
                  <a:gd name="connsiteX33" fmla="*/ 92007 w 4224883"/>
                  <a:gd name="connsiteY33" fmla="*/ 2804367 h 4210806"/>
                  <a:gd name="connsiteX34" fmla="*/ 329613 w 4224883"/>
                  <a:gd name="connsiteY34" fmla="*/ 2666940 h 4210806"/>
                  <a:gd name="connsiteX35" fmla="*/ 325333 w 4224883"/>
                  <a:gd name="connsiteY35" fmla="*/ 2655246 h 4210806"/>
                  <a:gd name="connsiteX36" fmla="*/ 242395 w 4224883"/>
                  <a:gd name="connsiteY36" fmla="*/ 2106659 h 4210806"/>
                  <a:gd name="connsiteX37" fmla="*/ 253268 w 4224883"/>
                  <a:gd name="connsiteY37" fmla="*/ 1915189 h 4210806"/>
                  <a:gd name="connsiteX38" fmla="*/ 0 w 4224883"/>
                  <a:gd name="connsiteY38" fmla="*/ 1836730 h 4210806"/>
                  <a:gd name="connsiteX39" fmla="*/ 205679 w 4224883"/>
                  <a:gd name="connsiteY39" fmla="*/ 1172801 h 4210806"/>
                  <a:gd name="connsiteX40" fmla="*/ 455529 w 4224883"/>
                  <a:gd name="connsiteY40" fmla="*/ 1250203 h 4210806"/>
                  <a:gd name="connsiteX41" fmla="*/ 521138 w 4224883"/>
                  <a:gd name="connsiteY41" fmla="*/ 1131122 h 4210806"/>
                  <a:gd name="connsiteX42" fmla="*/ 913729 w 4224883"/>
                  <a:gd name="connsiteY42" fmla="*/ 683123 h 4210806"/>
                  <a:gd name="connsiteX43" fmla="*/ 934290 w 4224883"/>
                  <a:gd name="connsiteY43" fmla="*/ 667748 h 4210806"/>
                  <a:gd name="connsiteX44" fmla="*/ 801376 w 4224883"/>
                  <a:gd name="connsiteY44" fmla="*/ 413509 h 4210806"/>
                  <a:gd name="connsiteX45" fmla="*/ 1417336 w 4224883"/>
                  <a:gd name="connsiteY45" fmla="*/ 91489 h 4210806"/>
                  <a:gd name="connsiteX46" fmla="*/ 1548443 w 4224883"/>
                  <a:gd name="connsiteY46" fmla="*/ 342270 h 4210806"/>
                  <a:gd name="connsiteX47" fmla="*/ 1715401 w 4224883"/>
                  <a:gd name="connsiteY47" fmla="*/ 299341 h 4210806"/>
                  <a:gd name="connsiteX48" fmla="*/ 2087192 w 4224883"/>
                  <a:gd name="connsiteY48" fmla="*/ 261861 h 4210806"/>
                  <a:gd name="connsiteX49" fmla="*/ 2275812 w 4224883"/>
                  <a:gd name="connsiteY49" fmla="*/ 271386 h 4210806"/>
                  <a:gd name="connsiteX50" fmla="*/ 2312708 w 4224883"/>
                  <a:gd name="connsiteY50" fmla="*/ 277017 h 4210806"/>
                  <a:gd name="connsiteX51" fmla="*/ 2377544 w 4224883"/>
                  <a:gd name="connsiteY51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703239 w 4224883"/>
                  <a:gd name="connsiteY17" fmla="*/ 2995997 h 4210806"/>
                  <a:gd name="connsiteX18" fmla="*/ 3423364 w 4224883"/>
                  <a:gd name="connsiteY18" fmla="*/ 2871009 h 4210806"/>
                  <a:gd name="connsiteX19" fmla="*/ 3429598 w 4224883"/>
                  <a:gd name="connsiteY19" fmla="*/ 2861155 h 4210806"/>
                  <a:gd name="connsiteX20" fmla="*/ 3630757 w 4224883"/>
                  <a:gd name="connsiteY20" fmla="*/ 2105403 h 4210806"/>
                  <a:gd name="connsiteX21" fmla="*/ 2112441 w 4224883"/>
                  <a:gd name="connsiteY21" fmla="*/ 587088 h 4210806"/>
                  <a:gd name="connsiteX22" fmla="*/ 594125 w 4224883"/>
                  <a:gd name="connsiteY22" fmla="*/ 2105403 h 4210806"/>
                  <a:gd name="connsiteX23" fmla="*/ 1806447 w 4224883"/>
                  <a:gd name="connsiteY23" fmla="*/ 3592872 h 4210806"/>
                  <a:gd name="connsiteX24" fmla="*/ 1845599 w 4224883"/>
                  <a:gd name="connsiteY24" fmla="*/ 3598847 h 4210806"/>
                  <a:gd name="connsiteX25" fmla="*/ 1779302 w 4224883"/>
                  <a:gd name="connsiteY25" fmla="*/ 4210806 h 4210806"/>
                  <a:gd name="connsiteX26" fmla="*/ 1167066 w 4224883"/>
                  <a:gd name="connsiteY26" fmla="*/ 4055952 h 4210806"/>
                  <a:gd name="connsiteX27" fmla="*/ 1245256 w 4224883"/>
                  <a:gd name="connsiteY27" fmla="*/ 3746819 h 4210806"/>
                  <a:gd name="connsiteX28" fmla="*/ 1207852 w 4224883"/>
                  <a:gd name="connsiteY28" fmla="*/ 3728800 h 4210806"/>
                  <a:gd name="connsiteX29" fmla="*/ 782723 w 4224883"/>
                  <a:gd name="connsiteY29" fmla="*/ 3411129 h 4210806"/>
                  <a:gd name="connsiteX30" fmla="*/ 668756 w 4224883"/>
                  <a:gd name="connsiteY30" fmla="*/ 3285733 h 4210806"/>
                  <a:gd name="connsiteX31" fmla="*/ 445204 w 4224883"/>
                  <a:gd name="connsiteY31" fmla="*/ 3415032 h 4210806"/>
                  <a:gd name="connsiteX32" fmla="*/ 92007 w 4224883"/>
                  <a:gd name="connsiteY32" fmla="*/ 2804367 h 4210806"/>
                  <a:gd name="connsiteX33" fmla="*/ 329613 w 4224883"/>
                  <a:gd name="connsiteY33" fmla="*/ 2666940 h 4210806"/>
                  <a:gd name="connsiteX34" fmla="*/ 325333 w 4224883"/>
                  <a:gd name="connsiteY34" fmla="*/ 2655246 h 4210806"/>
                  <a:gd name="connsiteX35" fmla="*/ 242395 w 4224883"/>
                  <a:gd name="connsiteY35" fmla="*/ 2106659 h 4210806"/>
                  <a:gd name="connsiteX36" fmla="*/ 253268 w 4224883"/>
                  <a:gd name="connsiteY36" fmla="*/ 1915189 h 4210806"/>
                  <a:gd name="connsiteX37" fmla="*/ 0 w 4224883"/>
                  <a:gd name="connsiteY37" fmla="*/ 1836730 h 4210806"/>
                  <a:gd name="connsiteX38" fmla="*/ 205679 w 4224883"/>
                  <a:gd name="connsiteY38" fmla="*/ 1172801 h 4210806"/>
                  <a:gd name="connsiteX39" fmla="*/ 455529 w 4224883"/>
                  <a:gd name="connsiteY39" fmla="*/ 1250203 h 4210806"/>
                  <a:gd name="connsiteX40" fmla="*/ 521138 w 4224883"/>
                  <a:gd name="connsiteY40" fmla="*/ 1131122 h 4210806"/>
                  <a:gd name="connsiteX41" fmla="*/ 913729 w 4224883"/>
                  <a:gd name="connsiteY41" fmla="*/ 683123 h 4210806"/>
                  <a:gd name="connsiteX42" fmla="*/ 934290 w 4224883"/>
                  <a:gd name="connsiteY42" fmla="*/ 667748 h 4210806"/>
                  <a:gd name="connsiteX43" fmla="*/ 801376 w 4224883"/>
                  <a:gd name="connsiteY43" fmla="*/ 413509 h 4210806"/>
                  <a:gd name="connsiteX44" fmla="*/ 1417336 w 4224883"/>
                  <a:gd name="connsiteY44" fmla="*/ 91489 h 4210806"/>
                  <a:gd name="connsiteX45" fmla="*/ 1548443 w 4224883"/>
                  <a:gd name="connsiteY45" fmla="*/ 342270 h 4210806"/>
                  <a:gd name="connsiteX46" fmla="*/ 1715401 w 4224883"/>
                  <a:gd name="connsiteY46" fmla="*/ 299341 h 4210806"/>
                  <a:gd name="connsiteX47" fmla="*/ 2087192 w 4224883"/>
                  <a:gd name="connsiteY47" fmla="*/ 261861 h 4210806"/>
                  <a:gd name="connsiteX48" fmla="*/ 2275812 w 4224883"/>
                  <a:gd name="connsiteY48" fmla="*/ 271386 h 4210806"/>
                  <a:gd name="connsiteX49" fmla="*/ 2312708 w 4224883"/>
                  <a:gd name="connsiteY49" fmla="*/ 277017 h 4210806"/>
                  <a:gd name="connsiteX50" fmla="*/ 2377544 w 4224883"/>
                  <a:gd name="connsiteY50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709333 w 4224883"/>
                  <a:gd name="connsiteY16" fmla="*/ 2985999 h 4210806"/>
                  <a:gd name="connsiteX17" fmla="*/ 3423364 w 4224883"/>
                  <a:gd name="connsiteY17" fmla="*/ 2871009 h 4210806"/>
                  <a:gd name="connsiteX18" fmla="*/ 3429598 w 4224883"/>
                  <a:gd name="connsiteY18" fmla="*/ 2861155 h 4210806"/>
                  <a:gd name="connsiteX19" fmla="*/ 3630757 w 4224883"/>
                  <a:gd name="connsiteY19" fmla="*/ 2105403 h 4210806"/>
                  <a:gd name="connsiteX20" fmla="*/ 2112441 w 4224883"/>
                  <a:gd name="connsiteY20" fmla="*/ 587088 h 4210806"/>
                  <a:gd name="connsiteX21" fmla="*/ 594125 w 4224883"/>
                  <a:gd name="connsiteY21" fmla="*/ 2105403 h 4210806"/>
                  <a:gd name="connsiteX22" fmla="*/ 1806447 w 4224883"/>
                  <a:gd name="connsiteY22" fmla="*/ 3592872 h 4210806"/>
                  <a:gd name="connsiteX23" fmla="*/ 1845599 w 4224883"/>
                  <a:gd name="connsiteY23" fmla="*/ 3598847 h 4210806"/>
                  <a:gd name="connsiteX24" fmla="*/ 1779302 w 4224883"/>
                  <a:gd name="connsiteY24" fmla="*/ 4210806 h 4210806"/>
                  <a:gd name="connsiteX25" fmla="*/ 1167066 w 4224883"/>
                  <a:gd name="connsiteY25" fmla="*/ 4055952 h 4210806"/>
                  <a:gd name="connsiteX26" fmla="*/ 1245256 w 4224883"/>
                  <a:gd name="connsiteY26" fmla="*/ 3746819 h 4210806"/>
                  <a:gd name="connsiteX27" fmla="*/ 1207852 w 4224883"/>
                  <a:gd name="connsiteY27" fmla="*/ 3728800 h 4210806"/>
                  <a:gd name="connsiteX28" fmla="*/ 782723 w 4224883"/>
                  <a:gd name="connsiteY28" fmla="*/ 3411129 h 4210806"/>
                  <a:gd name="connsiteX29" fmla="*/ 668756 w 4224883"/>
                  <a:gd name="connsiteY29" fmla="*/ 3285733 h 4210806"/>
                  <a:gd name="connsiteX30" fmla="*/ 445204 w 4224883"/>
                  <a:gd name="connsiteY30" fmla="*/ 3415032 h 4210806"/>
                  <a:gd name="connsiteX31" fmla="*/ 92007 w 4224883"/>
                  <a:gd name="connsiteY31" fmla="*/ 2804367 h 4210806"/>
                  <a:gd name="connsiteX32" fmla="*/ 329613 w 4224883"/>
                  <a:gd name="connsiteY32" fmla="*/ 2666940 h 4210806"/>
                  <a:gd name="connsiteX33" fmla="*/ 325333 w 4224883"/>
                  <a:gd name="connsiteY33" fmla="*/ 2655246 h 4210806"/>
                  <a:gd name="connsiteX34" fmla="*/ 242395 w 4224883"/>
                  <a:gd name="connsiteY34" fmla="*/ 2106659 h 4210806"/>
                  <a:gd name="connsiteX35" fmla="*/ 253268 w 4224883"/>
                  <a:gd name="connsiteY35" fmla="*/ 1915189 h 4210806"/>
                  <a:gd name="connsiteX36" fmla="*/ 0 w 4224883"/>
                  <a:gd name="connsiteY36" fmla="*/ 1836730 h 4210806"/>
                  <a:gd name="connsiteX37" fmla="*/ 205679 w 4224883"/>
                  <a:gd name="connsiteY37" fmla="*/ 1172801 h 4210806"/>
                  <a:gd name="connsiteX38" fmla="*/ 455529 w 4224883"/>
                  <a:gd name="connsiteY38" fmla="*/ 1250203 h 4210806"/>
                  <a:gd name="connsiteX39" fmla="*/ 521138 w 4224883"/>
                  <a:gd name="connsiteY39" fmla="*/ 1131122 h 4210806"/>
                  <a:gd name="connsiteX40" fmla="*/ 913729 w 4224883"/>
                  <a:gd name="connsiteY40" fmla="*/ 683123 h 4210806"/>
                  <a:gd name="connsiteX41" fmla="*/ 934290 w 4224883"/>
                  <a:gd name="connsiteY41" fmla="*/ 667748 h 4210806"/>
                  <a:gd name="connsiteX42" fmla="*/ 801376 w 4224883"/>
                  <a:gd name="connsiteY42" fmla="*/ 413509 h 4210806"/>
                  <a:gd name="connsiteX43" fmla="*/ 1417336 w 4224883"/>
                  <a:gd name="connsiteY43" fmla="*/ 91489 h 4210806"/>
                  <a:gd name="connsiteX44" fmla="*/ 1548443 w 4224883"/>
                  <a:gd name="connsiteY44" fmla="*/ 342270 h 4210806"/>
                  <a:gd name="connsiteX45" fmla="*/ 1715401 w 4224883"/>
                  <a:gd name="connsiteY45" fmla="*/ 299341 h 4210806"/>
                  <a:gd name="connsiteX46" fmla="*/ 2087192 w 4224883"/>
                  <a:gd name="connsiteY46" fmla="*/ 261861 h 4210806"/>
                  <a:gd name="connsiteX47" fmla="*/ 2275812 w 4224883"/>
                  <a:gd name="connsiteY47" fmla="*/ 271386 h 4210806"/>
                  <a:gd name="connsiteX48" fmla="*/ 2312708 w 4224883"/>
                  <a:gd name="connsiteY48" fmla="*/ 277017 h 4210806"/>
                  <a:gd name="connsiteX49" fmla="*/ 2377544 w 4224883"/>
                  <a:gd name="connsiteY49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714715 w 4224883"/>
                  <a:gd name="connsiteY15" fmla="*/ 2974828 h 4210806"/>
                  <a:gd name="connsiteX16" fmla="*/ 3423364 w 4224883"/>
                  <a:gd name="connsiteY16" fmla="*/ 2871009 h 4210806"/>
                  <a:gd name="connsiteX17" fmla="*/ 3429598 w 4224883"/>
                  <a:gd name="connsiteY17" fmla="*/ 2861155 h 4210806"/>
                  <a:gd name="connsiteX18" fmla="*/ 3630757 w 4224883"/>
                  <a:gd name="connsiteY18" fmla="*/ 2105403 h 4210806"/>
                  <a:gd name="connsiteX19" fmla="*/ 2112441 w 4224883"/>
                  <a:gd name="connsiteY19" fmla="*/ 587088 h 4210806"/>
                  <a:gd name="connsiteX20" fmla="*/ 594125 w 4224883"/>
                  <a:gd name="connsiteY20" fmla="*/ 2105403 h 4210806"/>
                  <a:gd name="connsiteX21" fmla="*/ 1806447 w 4224883"/>
                  <a:gd name="connsiteY21" fmla="*/ 3592872 h 4210806"/>
                  <a:gd name="connsiteX22" fmla="*/ 1845599 w 4224883"/>
                  <a:gd name="connsiteY22" fmla="*/ 3598847 h 4210806"/>
                  <a:gd name="connsiteX23" fmla="*/ 1779302 w 4224883"/>
                  <a:gd name="connsiteY23" fmla="*/ 4210806 h 4210806"/>
                  <a:gd name="connsiteX24" fmla="*/ 1167066 w 4224883"/>
                  <a:gd name="connsiteY24" fmla="*/ 4055952 h 4210806"/>
                  <a:gd name="connsiteX25" fmla="*/ 1245256 w 4224883"/>
                  <a:gd name="connsiteY25" fmla="*/ 3746819 h 4210806"/>
                  <a:gd name="connsiteX26" fmla="*/ 1207852 w 4224883"/>
                  <a:gd name="connsiteY26" fmla="*/ 3728800 h 4210806"/>
                  <a:gd name="connsiteX27" fmla="*/ 782723 w 4224883"/>
                  <a:gd name="connsiteY27" fmla="*/ 3411129 h 4210806"/>
                  <a:gd name="connsiteX28" fmla="*/ 668756 w 4224883"/>
                  <a:gd name="connsiteY28" fmla="*/ 3285733 h 4210806"/>
                  <a:gd name="connsiteX29" fmla="*/ 445204 w 4224883"/>
                  <a:gd name="connsiteY29" fmla="*/ 3415032 h 4210806"/>
                  <a:gd name="connsiteX30" fmla="*/ 92007 w 4224883"/>
                  <a:gd name="connsiteY30" fmla="*/ 2804367 h 4210806"/>
                  <a:gd name="connsiteX31" fmla="*/ 329613 w 4224883"/>
                  <a:gd name="connsiteY31" fmla="*/ 2666940 h 4210806"/>
                  <a:gd name="connsiteX32" fmla="*/ 325333 w 4224883"/>
                  <a:gd name="connsiteY32" fmla="*/ 2655246 h 4210806"/>
                  <a:gd name="connsiteX33" fmla="*/ 242395 w 4224883"/>
                  <a:gd name="connsiteY33" fmla="*/ 2106659 h 4210806"/>
                  <a:gd name="connsiteX34" fmla="*/ 253268 w 4224883"/>
                  <a:gd name="connsiteY34" fmla="*/ 1915189 h 4210806"/>
                  <a:gd name="connsiteX35" fmla="*/ 0 w 4224883"/>
                  <a:gd name="connsiteY35" fmla="*/ 1836730 h 4210806"/>
                  <a:gd name="connsiteX36" fmla="*/ 205679 w 4224883"/>
                  <a:gd name="connsiteY36" fmla="*/ 1172801 h 4210806"/>
                  <a:gd name="connsiteX37" fmla="*/ 455529 w 4224883"/>
                  <a:gd name="connsiteY37" fmla="*/ 1250203 h 4210806"/>
                  <a:gd name="connsiteX38" fmla="*/ 521138 w 4224883"/>
                  <a:gd name="connsiteY38" fmla="*/ 1131122 h 4210806"/>
                  <a:gd name="connsiteX39" fmla="*/ 913729 w 4224883"/>
                  <a:gd name="connsiteY39" fmla="*/ 683123 h 4210806"/>
                  <a:gd name="connsiteX40" fmla="*/ 934290 w 4224883"/>
                  <a:gd name="connsiteY40" fmla="*/ 667748 h 4210806"/>
                  <a:gd name="connsiteX41" fmla="*/ 801376 w 4224883"/>
                  <a:gd name="connsiteY41" fmla="*/ 413509 h 4210806"/>
                  <a:gd name="connsiteX42" fmla="*/ 1417336 w 4224883"/>
                  <a:gd name="connsiteY42" fmla="*/ 91489 h 4210806"/>
                  <a:gd name="connsiteX43" fmla="*/ 1548443 w 4224883"/>
                  <a:gd name="connsiteY43" fmla="*/ 342270 h 4210806"/>
                  <a:gd name="connsiteX44" fmla="*/ 1715401 w 4224883"/>
                  <a:gd name="connsiteY44" fmla="*/ 299341 h 4210806"/>
                  <a:gd name="connsiteX45" fmla="*/ 2087192 w 4224883"/>
                  <a:gd name="connsiteY45" fmla="*/ 261861 h 4210806"/>
                  <a:gd name="connsiteX46" fmla="*/ 2275812 w 4224883"/>
                  <a:gd name="connsiteY46" fmla="*/ 271386 h 4210806"/>
                  <a:gd name="connsiteX47" fmla="*/ 2312708 w 4224883"/>
                  <a:gd name="connsiteY47" fmla="*/ 277017 h 4210806"/>
                  <a:gd name="connsiteX48" fmla="*/ 2377544 w 4224883"/>
                  <a:gd name="connsiteY48" fmla="*/ 0 h 4210806"/>
                  <a:gd name="connsiteX0" fmla="*/ 2377544 w 4224883"/>
                  <a:gd name="connsiteY0" fmla="*/ 0 h 4210806"/>
                  <a:gd name="connsiteX1" fmla="*/ 3054312 w 4224883"/>
                  <a:gd name="connsiteY1" fmla="*/ 158399 h 4210806"/>
                  <a:gd name="connsiteX2" fmla="*/ 2976557 w 4224883"/>
                  <a:gd name="connsiteY2" fmla="*/ 490609 h 4210806"/>
                  <a:gd name="connsiteX3" fmla="*/ 3118636 w 4224883"/>
                  <a:gd name="connsiteY3" fmla="*/ 576924 h 4210806"/>
                  <a:gd name="connsiteX4" fmla="*/ 3452745 w 4224883"/>
                  <a:gd name="connsiteY4" fmla="*/ 866259 h 4210806"/>
                  <a:gd name="connsiteX5" fmla="*/ 3537652 w 4224883"/>
                  <a:gd name="connsiteY5" fmla="*/ 971694 h 4210806"/>
                  <a:gd name="connsiteX6" fmla="*/ 3814027 w 4224883"/>
                  <a:gd name="connsiteY6" fmla="*/ 819215 h 4210806"/>
                  <a:gd name="connsiteX7" fmla="*/ 4149788 w 4224883"/>
                  <a:gd name="connsiteY7" fmla="*/ 1427794 h 4210806"/>
                  <a:gd name="connsiteX8" fmla="*/ 3855855 w 4224883"/>
                  <a:gd name="connsiteY8" fmla="*/ 1589961 h 4210806"/>
                  <a:gd name="connsiteX9" fmla="*/ 3873911 w 4224883"/>
                  <a:gd name="connsiteY9" fmla="*/ 1645615 h 4210806"/>
                  <a:gd name="connsiteX10" fmla="*/ 3931990 w 4224883"/>
                  <a:gd name="connsiteY10" fmla="*/ 2106659 h 4210806"/>
                  <a:gd name="connsiteX11" fmla="*/ 3922466 w 4224883"/>
                  <a:gd name="connsiteY11" fmla="*/ 2295279 h 4210806"/>
                  <a:gd name="connsiteX12" fmla="*/ 3921773 w 4224883"/>
                  <a:gd name="connsiteY12" fmla="*/ 2299816 h 4210806"/>
                  <a:gd name="connsiteX13" fmla="*/ 4224883 w 4224883"/>
                  <a:gd name="connsiteY13" fmla="*/ 2379220 h 4210806"/>
                  <a:gd name="connsiteX14" fmla="*/ 4046112 w 4224883"/>
                  <a:gd name="connsiteY14" fmla="*/ 3061643 h 4210806"/>
                  <a:gd name="connsiteX15" fmla="*/ 3423364 w 4224883"/>
                  <a:gd name="connsiteY15" fmla="*/ 2871009 h 4210806"/>
                  <a:gd name="connsiteX16" fmla="*/ 3429598 w 4224883"/>
                  <a:gd name="connsiteY16" fmla="*/ 2861155 h 4210806"/>
                  <a:gd name="connsiteX17" fmla="*/ 3630757 w 4224883"/>
                  <a:gd name="connsiteY17" fmla="*/ 2105403 h 4210806"/>
                  <a:gd name="connsiteX18" fmla="*/ 2112441 w 4224883"/>
                  <a:gd name="connsiteY18" fmla="*/ 587088 h 4210806"/>
                  <a:gd name="connsiteX19" fmla="*/ 594125 w 4224883"/>
                  <a:gd name="connsiteY19" fmla="*/ 2105403 h 4210806"/>
                  <a:gd name="connsiteX20" fmla="*/ 1806447 w 4224883"/>
                  <a:gd name="connsiteY20" fmla="*/ 3592872 h 4210806"/>
                  <a:gd name="connsiteX21" fmla="*/ 1845599 w 4224883"/>
                  <a:gd name="connsiteY21" fmla="*/ 3598847 h 4210806"/>
                  <a:gd name="connsiteX22" fmla="*/ 1779302 w 4224883"/>
                  <a:gd name="connsiteY22" fmla="*/ 4210806 h 4210806"/>
                  <a:gd name="connsiteX23" fmla="*/ 1167066 w 4224883"/>
                  <a:gd name="connsiteY23" fmla="*/ 4055952 h 4210806"/>
                  <a:gd name="connsiteX24" fmla="*/ 1245256 w 4224883"/>
                  <a:gd name="connsiteY24" fmla="*/ 3746819 h 4210806"/>
                  <a:gd name="connsiteX25" fmla="*/ 1207852 w 4224883"/>
                  <a:gd name="connsiteY25" fmla="*/ 3728800 h 4210806"/>
                  <a:gd name="connsiteX26" fmla="*/ 782723 w 4224883"/>
                  <a:gd name="connsiteY26" fmla="*/ 3411129 h 4210806"/>
                  <a:gd name="connsiteX27" fmla="*/ 668756 w 4224883"/>
                  <a:gd name="connsiteY27" fmla="*/ 3285733 h 4210806"/>
                  <a:gd name="connsiteX28" fmla="*/ 445204 w 4224883"/>
                  <a:gd name="connsiteY28" fmla="*/ 3415032 h 4210806"/>
                  <a:gd name="connsiteX29" fmla="*/ 92007 w 4224883"/>
                  <a:gd name="connsiteY29" fmla="*/ 2804367 h 4210806"/>
                  <a:gd name="connsiteX30" fmla="*/ 329613 w 4224883"/>
                  <a:gd name="connsiteY30" fmla="*/ 2666940 h 4210806"/>
                  <a:gd name="connsiteX31" fmla="*/ 325333 w 4224883"/>
                  <a:gd name="connsiteY31" fmla="*/ 2655246 h 4210806"/>
                  <a:gd name="connsiteX32" fmla="*/ 242395 w 4224883"/>
                  <a:gd name="connsiteY32" fmla="*/ 2106659 h 4210806"/>
                  <a:gd name="connsiteX33" fmla="*/ 253268 w 4224883"/>
                  <a:gd name="connsiteY33" fmla="*/ 1915189 h 4210806"/>
                  <a:gd name="connsiteX34" fmla="*/ 0 w 4224883"/>
                  <a:gd name="connsiteY34" fmla="*/ 1836730 h 4210806"/>
                  <a:gd name="connsiteX35" fmla="*/ 205679 w 4224883"/>
                  <a:gd name="connsiteY35" fmla="*/ 1172801 h 4210806"/>
                  <a:gd name="connsiteX36" fmla="*/ 455529 w 4224883"/>
                  <a:gd name="connsiteY36" fmla="*/ 1250203 h 4210806"/>
                  <a:gd name="connsiteX37" fmla="*/ 521138 w 4224883"/>
                  <a:gd name="connsiteY37" fmla="*/ 1131122 h 4210806"/>
                  <a:gd name="connsiteX38" fmla="*/ 913729 w 4224883"/>
                  <a:gd name="connsiteY38" fmla="*/ 683123 h 4210806"/>
                  <a:gd name="connsiteX39" fmla="*/ 934290 w 4224883"/>
                  <a:gd name="connsiteY39" fmla="*/ 667748 h 4210806"/>
                  <a:gd name="connsiteX40" fmla="*/ 801376 w 4224883"/>
                  <a:gd name="connsiteY40" fmla="*/ 413509 h 4210806"/>
                  <a:gd name="connsiteX41" fmla="*/ 1417336 w 4224883"/>
                  <a:gd name="connsiteY41" fmla="*/ 91489 h 4210806"/>
                  <a:gd name="connsiteX42" fmla="*/ 1548443 w 4224883"/>
                  <a:gd name="connsiteY42" fmla="*/ 342270 h 4210806"/>
                  <a:gd name="connsiteX43" fmla="*/ 1715401 w 4224883"/>
                  <a:gd name="connsiteY43" fmla="*/ 299341 h 4210806"/>
                  <a:gd name="connsiteX44" fmla="*/ 2087192 w 4224883"/>
                  <a:gd name="connsiteY44" fmla="*/ 261861 h 4210806"/>
                  <a:gd name="connsiteX45" fmla="*/ 2275812 w 4224883"/>
                  <a:gd name="connsiteY45" fmla="*/ 271386 h 4210806"/>
                  <a:gd name="connsiteX46" fmla="*/ 2312708 w 4224883"/>
                  <a:gd name="connsiteY46" fmla="*/ 277017 h 4210806"/>
                  <a:gd name="connsiteX47" fmla="*/ 2377544 w 4224883"/>
                  <a:gd name="connsiteY47" fmla="*/ 0 h 4210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4224883" h="4210806">
                    <a:moveTo>
                      <a:pt x="2377544" y="0"/>
                    </a:moveTo>
                    <a:lnTo>
                      <a:pt x="3054312" y="158399"/>
                    </a:lnTo>
                    <a:lnTo>
                      <a:pt x="2976557" y="490609"/>
                    </a:lnTo>
                    <a:lnTo>
                      <a:pt x="3118636" y="576924"/>
                    </a:lnTo>
                    <a:cubicBezTo>
                      <a:pt x="3241316" y="659804"/>
                      <a:pt x="3353491" y="757054"/>
                      <a:pt x="3452745" y="866259"/>
                    </a:cubicBezTo>
                    <a:lnTo>
                      <a:pt x="3537652" y="971694"/>
                    </a:lnTo>
                    <a:lnTo>
                      <a:pt x="3814027" y="819215"/>
                    </a:lnTo>
                    <a:lnTo>
                      <a:pt x="4149788" y="1427794"/>
                    </a:lnTo>
                    <a:lnTo>
                      <a:pt x="3855855" y="1589961"/>
                    </a:lnTo>
                    <a:lnTo>
                      <a:pt x="3873911" y="1645615"/>
                    </a:lnTo>
                    <a:cubicBezTo>
                      <a:pt x="3911826" y="1792977"/>
                      <a:pt x="3931990" y="1947463"/>
                      <a:pt x="3931990" y="2106659"/>
                    </a:cubicBezTo>
                    <a:cubicBezTo>
                      <a:pt x="3931990" y="2170338"/>
                      <a:pt x="3928764" y="2233262"/>
                      <a:pt x="3922466" y="2295279"/>
                    </a:cubicBezTo>
                    <a:lnTo>
                      <a:pt x="3921773" y="2299816"/>
                    </a:lnTo>
                    <a:lnTo>
                      <a:pt x="4224883" y="2379220"/>
                    </a:lnTo>
                    <a:lnTo>
                      <a:pt x="4046112" y="3061643"/>
                    </a:lnTo>
                    <a:lnTo>
                      <a:pt x="3423364" y="2871009"/>
                    </a:lnTo>
                    <a:lnTo>
                      <a:pt x="3429598" y="2861155"/>
                    </a:lnTo>
                    <a:cubicBezTo>
                      <a:pt x="3557569" y="2638602"/>
                      <a:pt x="3630757" y="2380550"/>
                      <a:pt x="3630757" y="2105403"/>
                    </a:cubicBezTo>
                    <a:cubicBezTo>
                      <a:pt x="3630757" y="1266861"/>
                      <a:pt x="2950984" y="587088"/>
                      <a:pt x="2112441" y="587088"/>
                    </a:cubicBezTo>
                    <a:cubicBezTo>
                      <a:pt x="1273898" y="587088"/>
                      <a:pt x="594125" y="1266861"/>
                      <a:pt x="594125" y="2105403"/>
                    </a:cubicBezTo>
                    <a:cubicBezTo>
                      <a:pt x="594125" y="2839127"/>
                      <a:pt x="1114576" y="3451294"/>
                      <a:pt x="1806447" y="3592872"/>
                    </a:cubicBezTo>
                    <a:lnTo>
                      <a:pt x="1845599" y="3598847"/>
                    </a:lnTo>
                    <a:lnTo>
                      <a:pt x="1779302" y="4210806"/>
                    </a:lnTo>
                    <a:lnTo>
                      <a:pt x="1167066" y="4055952"/>
                    </a:lnTo>
                    <a:lnTo>
                      <a:pt x="1245256" y="3746819"/>
                    </a:lnTo>
                    <a:lnTo>
                      <a:pt x="1207852" y="3728800"/>
                    </a:lnTo>
                    <a:cubicBezTo>
                      <a:pt x="1051015" y="3643601"/>
                      <a:pt x="907914" y="3536320"/>
                      <a:pt x="782723" y="3411129"/>
                    </a:cubicBezTo>
                    <a:lnTo>
                      <a:pt x="668756" y="3285733"/>
                    </a:lnTo>
                    <a:lnTo>
                      <a:pt x="445204" y="3415032"/>
                    </a:lnTo>
                    <a:lnTo>
                      <a:pt x="92007" y="2804367"/>
                    </a:lnTo>
                    <a:lnTo>
                      <a:pt x="329613" y="2666940"/>
                    </a:lnTo>
                    <a:lnTo>
                      <a:pt x="325333" y="2655246"/>
                    </a:lnTo>
                    <a:cubicBezTo>
                      <a:pt x="271432" y="2481947"/>
                      <a:pt x="242395" y="2297694"/>
                      <a:pt x="242395" y="2106659"/>
                    </a:cubicBezTo>
                    <a:lnTo>
                      <a:pt x="253268" y="1915189"/>
                    </a:lnTo>
                    <a:lnTo>
                      <a:pt x="0" y="1836730"/>
                    </a:lnTo>
                    <a:lnTo>
                      <a:pt x="205679" y="1172801"/>
                    </a:lnTo>
                    <a:lnTo>
                      <a:pt x="455529" y="1250203"/>
                    </a:lnTo>
                    <a:lnTo>
                      <a:pt x="521138" y="1131122"/>
                    </a:lnTo>
                    <a:cubicBezTo>
                      <a:pt x="627135" y="961323"/>
                      <a:pt x="759979" y="810010"/>
                      <a:pt x="913729" y="683123"/>
                    </a:cubicBezTo>
                    <a:lnTo>
                      <a:pt x="934290" y="667748"/>
                    </a:lnTo>
                    <a:lnTo>
                      <a:pt x="801376" y="413509"/>
                    </a:lnTo>
                    <a:lnTo>
                      <a:pt x="1417336" y="91489"/>
                    </a:lnTo>
                    <a:lnTo>
                      <a:pt x="1548443" y="342270"/>
                    </a:lnTo>
                    <a:lnTo>
                      <a:pt x="1715401" y="299341"/>
                    </a:lnTo>
                    <a:cubicBezTo>
                      <a:pt x="1835493" y="274767"/>
                      <a:pt x="1959835" y="261861"/>
                      <a:pt x="2087192" y="261861"/>
                    </a:cubicBezTo>
                    <a:cubicBezTo>
                      <a:pt x="2150870" y="261861"/>
                      <a:pt x="2213795" y="265088"/>
                      <a:pt x="2275812" y="271386"/>
                    </a:cubicBezTo>
                    <a:lnTo>
                      <a:pt x="2312708" y="277017"/>
                    </a:lnTo>
                    <a:lnTo>
                      <a:pt x="2377544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>
                    <a:solidFill>
                      <a:prstClr val="white"/>
                    </a:solidFill>
                  </a:rPr>
                  <a:t>   </a:t>
                </a:r>
              </a:p>
            </p:txBody>
          </p: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338E2516-A684-4D48-93F2-CAAD93FA3654}"/>
                  </a:ext>
                </a:extLst>
              </p:cNvPr>
              <p:cNvGrpSpPr/>
              <p:nvPr/>
            </p:nvGrpSpPr>
            <p:grpSpPr>
              <a:xfrm>
                <a:off x="3907085" y="2616195"/>
                <a:ext cx="2243802" cy="3314589"/>
                <a:chOff x="3907086" y="2616196"/>
                <a:chExt cx="2243805" cy="3314589"/>
              </a:xfrm>
              <a:grpFill/>
            </p:grpSpPr>
            <p:sp>
              <p:nvSpPr>
                <p:cNvPr id="60" name="Rectangle 6">
                  <a:extLst>
                    <a:ext uri="{FF2B5EF4-FFF2-40B4-BE49-F238E27FC236}">
                      <a16:creationId xmlns:a16="http://schemas.microsoft.com/office/drawing/2014/main" id="{E6EC1D79-42D5-43CD-8C45-CD1026A99C55}"/>
                    </a:ext>
                  </a:extLst>
                </p:cNvPr>
                <p:cNvSpPr/>
                <p:nvPr/>
              </p:nvSpPr>
              <p:spPr>
                <a:xfrm>
                  <a:off x="3907086" y="4053052"/>
                  <a:ext cx="2243805" cy="1877733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123825 w 800101"/>
                    <a:gd name="connsiteY0" fmla="*/ 0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23825 w 800101"/>
                    <a:gd name="connsiteY4" fmla="*/ 0 h 836089"/>
                    <a:gd name="connsiteX0" fmla="*/ 147638 w 800101"/>
                    <a:gd name="connsiteY0" fmla="*/ 7143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47638 w 800101"/>
                    <a:gd name="connsiteY4" fmla="*/ 71438 h 836089"/>
                    <a:gd name="connsiteX0" fmla="*/ 104775 w 800101"/>
                    <a:gd name="connsiteY0" fmla="*/ 14288 h 836089"/>
                    <a:gd name="connsiteX1" fmla="*/ 800101 w 800101"/>
                    <a:gd name="connsiteY1" fmla="*/ 0 h 836089"/>
                    <a:gd name="connsiteX2" fmla="*/ 800101 w 800101"/>
                    <a:gd name="connsiteY2" fmla="*/ 583676 h 836089"/>
                    <a:gd name="connsiteX3" fmla="*/ 0 w 800101"/>
                    <a:gd name="connsiteY3" fmla="*/ 836089 h 836089"/>
                    <a:gd name="connsiteX4" fmla="*/ 104775 w 800101"/>
                    <a:gd name="connsiteY4" fmla="*/ 14288 h 836089"/>
                    <a:gd name="connsiteX0" fmla="*/ 104775 w 1319213"/>
                    <a:gd name="connsiteY0" fmla="*/ 0 h 821801"/>
                    <a:gd name="connsiteX1" fmla="*/ 1319213 w 1319213"/>
                    <a:gd name="connsiteY1" fmla="*/ 4762 h 821801"/>
                    <a:gd name="connsiteX2" fmla="*/ 800101 w 1319213"/>
                    <a:gd name="connsiteY2" fmla="*/ 569388 h 821801"/>
                    <a:gd name="connsiteX3" fmla="*/ 0 w 1319213"/>
                    <a:gd name="connsiteY3" fmla="*/ 821801 h 821801"/>
                    <a:gd name="connsiteX4" fmla="*/ 104775 w 1319213"/>
                    <a:gd name="connsiteY4" fmla="*/ 0 h 821801"/>
                    <a:gd name="connsiteX0" fmla="*/ 104775 w 1443038"/>
                    <a:gd name="connsiteY0" fmla="*/ 0 h 850376"/>
                    <a:gd name="connsiteX1" fmla="*/ 1319213 w 1443038"/>
                    <a:gd name="connsiteY1" fmla="*/ 4762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04775 w 1443038"/>
                    <a:gd name="connsiteY0" fmla="*/ 0 h 850376"/>
                    <a:gd name="connsiteX1" fmla="*/ 1328738 w 1443038"/>
                    <a:gd name="connsiteY1" fmla="*/ 9525 h 850376"/>
                    <a:gd name="connsiteX2" fmla="*/ 1443038 w 1443038"/>
                    <a:gd name="connsiteY2" fmla="*/ 850376 h 850376"/>
                    <a:gd name="connsiteX3" fmla="*/ 0 w 1443038"/>
                    <a:gd name="connsiteY3" fmla="*/ 821801 h 850376"/>
                    <a:gd name="connsiteX4" fmla="*/ 104775 w 1443038"/>
                    <a:gd name="connsiteY4" fmla="*/ 0 h 850376"/>
                    <a:gd name="connsiteX0" fmla="*/ 116681 w 1443038"/>
                    <a:gd name="connsiteY0" fmla="*/ 0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16681 w 1443038"/>
                    <a:gd name="connsiteY4" fmla="*/ 0 h 840851"/>
                    <a:gd name="connsiteX0" fmla="*/ 166687 w 1443038"/>
                    <a:gd name="connsiteY0" fmla="*/ 35719 h 840851"/>
                    <a:gd name="connsiteX1" fmla="*/ 1328738 w 1443038"/>
                    <a:gd name="connsiteY1" fmla="*/ 0 h 840851"/>
                    <a:gd name="connsiteX2" fmla="*/ 1443038 w 1443038"/>
                    <a:gd name="connsiteY2" fmla="*/ 840851 h 840851"/>
                    <a:gd name="connsiteX3" fmla="*/ 0 w 1443038"/>
                    <a:gd name="connsiteY3" fmla="*/ 812276 h 840851"/>
                    <a:gd name="connsiteX4" fmla="*/ 166687 w 1443038"/>
                    <a:gd name="connsiteY4" fmla="*/ 35719 h 840851"/>
                    <a:gd name="connsiteX0" fmla="*/ 109537 w 1443038"/>
                    <a:gd name="connsiteY0" fmla="*/ 0 h 847994"/>
                    <a:gd name="connsiteX1" fmla="*/ 1328738 w 1443038"/>
                    <a:gd name="connsiteY1" fmla="*/ 7143 h 847994"/>
                    <a:gd name="connsiteX2" fmla="*/ 1443038 w 1443038"/>
                    <a:gd name="connsiteY2" fmla="*/ 847994 h 847994"/>
                    <a:gd name="connsiteX3" fmla="*/ 0 w 1443038"/>
                    <a:gd name="connsiteY3" fmla="*/ 819419 h 847994"/>
                    <a:gd name="connsiteX4" fmla="*/ 109537 w 1443038"/>
                    <a:gd name="connsiteY4" fmla="*/ 0 h 847994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56672 h 1004666"/>
                    <a:gd name="connsiteX1" fmla="*/ 494461 w 1443038"/>
                    <a:gd name="connsiteY1" fmla="*/ 0 h 1004666"/>
                    <a:gd name="connsiteX2" fmla="*/ 1328738 w 1443038"/>
                    <a:gd name="connsiteY2" fmla="*/ 163815 h 1004666"/>
                    <a:gd name="connsiteX3" fmla="*/ 1443038 w 1443038"/>
                    <a:gd name="connsiteY3" fmla="*/ 1004666 h 1004666"/>
                    <a:gd name="connsiteX4" fmla="*/ 0 w 1443038"/>
                    <a:gd name="connsiteY4" fmla="*/ 976091 h 1004666"/>
                    <a:gd name="connsiteX5" fmla="*/ 109537 w 1443038"/>
                    <a:gd name="connsiteY5" fmla="*/ 156672 h 1004666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61434 h 1009428"/>
                    <a:gd name="connsiteX1" fmla="*/ 489698 w 1443038"/>
                    <a:gd name="connsiteY1" fmla="*/ 0 h 1009428"/>
                    <a:gd name="connsiteX2" fmla="*/ 1328738 w 1443038"/>
                    <a:gd name="connsiteY2" fmla="*/ 168577 h 1009428"/>
                    <a:gd name="connsiteX3" fmla="*/ 1443038 w 1443038"/>
                    <a:gd name="connsiteY3" fmla="*/ 1009428 h 1009428"/>
                    <a:gd name="connsiteX4" fmla="*/ 0 w 1443038"/>
                    <a:gd name="connsiteY4" fmla="*/ 980853 h 1009428"/>
                    <a:gd name="connsiteX5" fmla="*/ 109537 w 1443038"/>
                    <a:gd name="connsiteY5" fmla="*/ 161434 h 100942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28738 w 1443038"/>
                    <a:gd name="connsiteY3" fmla="*/ 179857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2714 h 1020708"/>
                    <a:gd name="connsiteX1" fmla="*/ 489698 w 1443038"/>
                    <a:gd name="connsiteY1" fmla="*/ 11280 h 1020708"/>
                    <a:gd name="connsiteX2" fmla="*/ 963567 w 1443038"/>
                    <a:gd name="connsiteY2" fmla="*/ 8899 h 1020708"/>
                    <a:gd name="connsiteX3" fmla="*/ 1335882 w 1443038"/>
                    <a:gd name="connsiteY3" fmla="*/ 172714 h 1020708"/>
                    <a:gd name="connsiteX4" fmla="*/ 1443038 w 1443038"/>
                    <a:gd name="connsiteY4" fmla="*/ 1020708 h 1020708"/>
                    <a:gd name="connsiteX5" fmla="*/ 0 w 1443038"/>
                    <a:gd name="connsiteY5" fmla="*/ 992133 h 1020708"/>
                    <a:gd name="connsiteX6" fmla="*/ 109537 w 1443038"/>
                    <a:gd name="connsiteY6" fmla="*/ 172714 h 1020708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43038"/>
                    <a:gd name="connsiteY0" fmla="*/ 174845 h 1022839"/>
                    <a:gd name="connsiteX1" fmla="*/ 489698 w 1443038"/>
                    <a:gd name="connsiteY1" fmla="*/ 13411 h 1022839"/>
                    <a:gd name="connsiteX2" fmla="*/ 963567 w 1443038"/>
                    <a:gd name="connsiteY2" fmla="*/ 8649 h 1022839"/>
                    <a:gd name="connsiteX3" fmla="*/ 1335882 w 1443038"/>
                    <a:gd name="connsiteY3" fmla="*/ 174845 h 1022839"/>
                    <a:gd name="connsiteX4" fmla="*/ 1443038 w 1443038"/>
                    <a:gd name="connsiteY4" fmla="*/ 1022839 h 1022839"/>
                    <a:gd name="connsiteX5" fmla="*/ 0 w 1443038"/>
                    <a:gd name="connsiteY5" fmla="*/ 994264 h 1022839"/>
                    <a:gd name="connsiteX6" fmla="*/ 109537 w 1443038"/>
                    <a:gd name="connsiteY6" fmla="*/ 174845 h 1022839"/>
                    <a:gd name="connsiteX0" fmla="*/ 109537 w 1454944"/>
                    <a:gd name="connsiteY0" fmla="*/ 174845 h 1010933"/>
                    <a:gd name="connsiteX1" fmla="*/ 489698 w 1454944"/>
                    <a:gd name="connsiteY1" fmla="*/ 13411 h 1010933"/>
                    <a:gd name="connsiteX2" fmla="*/ 963567 w 1454944"/>
                    <a:gd name="connsiteY2" fmla="*/ 8649 h 1010933"/>
                    <a:gd name="connsiteX3" fmla="*/ 1335882 w 1454944"/>
                    <a:gd name="connsiteY3" fmla="*/ 174845 h 1010933"/>
                    <a:gd name="connsiteX4" fmla="*/ 1454944 w 1454944"/>
                    <a:gd name="connsiteY4" fmla="*/ 1010933 h 1010933"/>
                    <a:gd name="connsiteX5" fmla="*/ 0 w 1454944"/>
                    <a:gd name="connsiteY5" fmla="*/ 994264 h 1010933"/>
                    <a:gd name="connsiteX6" fmla="*/ 109537 w 1454944"/>
                    <a:gd name="connsiteY6" fmla="*/ 174845 h 1010933"/>
                    <a:gd name="connsiteX0" fmla="*/ 114300 w 1459707"/>
                    <a:gd name="connsiteY0" fmla="*/ 174845 h 1010933"/>
                    <a:gd name="connsiteX1" fmla="*/ 494461 w 1459707"/>
                    <a:gd name="connsiteY1" fmla="*/ 13411 h 1010933"/>
                    <a:gd name="connsiteX2" fmla="*/ 968330 w 1459707"/>
                    <a:gd name="connsiteY2" fmla="*/ 8649 h 1010933"/>
                    <a:gd name="connsiteX3" fmla="*/ 1340645 w 1459707"/>
                    <a:gd name="connsiteY3" fmla="*/ 174845 h 1010933"/>
                    <a:gd name="connsiteX4" fmla="*/ 1459707 w 1459707"/>
                    <a:gd name="connsiteY4" fmla="*/ 1010933 h 1010933"/>
                    <a:gd name="connsiteX5" fmla="*/ 0 w 1459707"/>
                    <a:gd name="connsiteY5" fmla="*/ 994264 h 1010933"/>
                    <a:gd name="connsiteX6" fmla="*/ 114300 w 1459707"/>
                    <a:gd name="connsiteY6" fmla="*/ 174845 h 1010933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20606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1837"/>
                    <a:gd name="connsiteX1" fmla="*/ 494461 w 1459707"/>
                    <a:gd name="connsiteY1" fmla="*/ 13411 h 1151837"/>
                    <a:gd name="connsiteX2" fmla="*/ 968330 w 1459707"/>
                    <a:gd name="connsiteY2" fmla="*/ 8649 h 1151837"/>
                    <a:gd name="connsiteX3" fmla="*/ 1340645 w 1459707"/>
                    <a:gd name="connsiteY3" fmla="*/ 174845 h 1151837"/>
                    <a:gd name="connsiteX4" fmla="*/ 1459707 w 1459707"/>
                    <a:gd name="connsiteY4" fmla="*/ 1010933 h 1151837"/>
                    <a:gd name="connsiteX5" fmla="*/ 127750 w 1459707"/>
                    <a:gd name="connsiteY5" fmla="*/ 1151650 h 1151837"/>
                    <a:gd name="connsiteX6" fmla="*/ 0 w 1459707"/>
                    <a:gd name="connsiteY6" fmla="*/ 994264 h 1151837"/>
                    <a:gd name="connsiteX7" fmla="*/ 114300 w 1459707"/>
                    <a:gd name="connsiteY7" fmla="*/ 174845 h 1151837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300 w 1459707"/>
                    <a:gd name="connsiteY0" fmla="*/ 174845 h 1154215"/>
                    <a:gd name="connsiteX1" fmla="*/ 494461 w 1459707"/>
                    <a:gd name="connsiteY1" fmla="*/ 13411 h 1154215"/>
                    <a:gd name="connsiteX2" fmla="*/ 968330 w 1459707"/>
                    <a:gd name="connsiteY2" fmla="*/ 8649 h 1154215"/>
                    <a:gd name="connsiteX3" fmla="*/ 1340645 w 1459707"/>
                    <a:gd name="connsiteY3" fmla="*/ 174845 h 1154215"/>
                    <a:gd name="connsiteX4" fmla="*/ 1459707 w 1459707"/>
                    <a:gd name="connsiteY4" fmla="*/ 1010933 h 1154215"/>
                    <a:gd name="connsiteX5" fmla="*/ 130131 w 1459707"/>
                    <a:gd name="connsiteY5" fmla="*/ 1154031 h 1154215"/>
                    <a:gd name="connsiteX6" fmla="*/ 0 w 1459707"/>
                    <a:gd name="connsiteY6" fmla="*/ 994264 h 1154215"/>
                    <a:gd name="connsiteX7" fmla="*/ 114300 w 1459707"/>
                    <a:gd name="connsiteY7" fmla="*/ 174845 h 1154215"/>
                    <a:gd name="connsiteX0" fmla="*/ 114713 w 1460120"/>
                    <a:gd name="connsiteY0" fmla="*/ 174845 h 1154215"/>
                    <a:gd name="connsiteX1" fmla="*/ 494874 w 1460120"/>
                    <a:gd name="connsiteY1" fmla="*/ 13411 h 1154215"/>
                    <a:gd name="connsiteX2" fmla="*/ 968743 w 1460120"/>
                    <a:gd name="connsiteY2" fmla="*/ 8649 h 1154215"/>
                    <a:gd name="connsiteX3" fmla="*/ 1341058 w 1460120"/>
                    <a:gd name="connsiteY3" fmla="*/ 174845 h 1154215"/>
                    <a:gd name="connsiteX4" fmla="*/ 1460120 w 1460120"/>
                    <a:gd name="connsiteY4" fmla="*/ 1010933 h 1154215"/>
                    <a:gd name="connsiteX5" fmla="*/ 130544 w 1460120"/>
                    <a:gd name="connsiteY5" fmla="*/ 1154031 h 1154215"/>
                    <a:gd name="connsiteX6" fmla="*/ 413 w 1460120"/>
                    <a:gd name="connsiteY6" fmla="*/ 994264 h 1154215"/>
                    <a:gd name="connsiteX7" fmla="*/ 114713 w 1460120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154215"/>
                    <a:gd name="connsiteX1" fmla="*/ 495186 w 1460432"/>
                    <a:gd name="connsiteY1" fmla="*/ 13411 h 1154215"/>
                    <a:gd name="connsiteX2" fmla="*/ 969055 w 1460432"/>
                    <a:gd name="connsiteY2" fmla="*/ 8649 h 1154215"/>
                    <a:gd name="connsiteX3" fmla="*/ 1341370 w 1460432"/>
                    <a:gd name="connsiteY3" fmla="*/ 174845 h 1154215"/>
                    <a:gd name="connsiteX4" fmla="*/ 1460432 w 1460432"/>
                    <a:gd name="connsiteY4" fmla="*/ 1010933 h 1154215"/>
                    <a:gd name="connsiteX5" fmla="*/ 130856 w 1460432"/>
                    <a:gd name="connsiteY5" fmla="*/ 1154031 h 1154215"/>
                    <a:gd name="connsiteX6" fmla="*/ 725 w 1460432"/>
                    <a:gd name="connsiteY6" fmla="*/ 994264 h 1154215"/>
                    <a:gd name="connsiteX7" fmla="*/ 115025 w 1460432"/>
                    <a:gd name="connsiteY7" fmla="*/ 174845 h 1154215"/>
                    <a:gd name="connsiteX0" fmla="*/ 115025 w 1460432"/>
                    <a:gd name="connsiteY0" fmla="*/ 174845 h 1221031"/>
                    <a:gd name="connsiteX1" fmla="*/ 495186 w 1460432"/>
                    <a:gd name="connsiteY1" fmla="*/ 13411 h 1221031"/>
                    <a:gd name="connsiteX2" fmla="*/ 969055 w 1460432"/>
                    <a:gd name="connsiteY2" fmla="*/ 8649 h 1221031"/>
                    <a:gd name="connsiteX3" fmla="*/ 1341370 w 1460432"/>
                    <a:gd name="connsiteY3" fmla="*/ 174845 h 1221031"/>
                    <a:gd name="connsiteX4" fmla="*/ 1460432 w 1460432"/>
                    <a:gd name="connsiteY4" fmla="*/ 1010933 h 1221031"/>
                    <a:gd name="connsiteX5" fmla="*/ 626156 w 1460432"/>
                    <a:gd name="connsiteY5" fmla="*/ 1215943 h 1221031"/>
                    <a:gd name="connsiteX6" fmla="*/ 130856 w 1460432"/>
                    <a:gd name="connsiteY6" fmla="*/ 1154031 h 1221031"/>
                    <a:gd name="connsiteX7" fmla="*/ 725 w 1460432"/>
                    <a:gd name="connsiteY7" fmla="*/ 994264 h 1221031"/>
                    <a:gd name="connsiteX8" fmla="*/ 115025 w 1460432"/>
                    <a:gd name="connsiteY8" fmla="*/ 174845 h 1221031"/>
                    <a:gd name="connsiteX0" fmla="*/ 115025 w 1460432"/>
                    <a:gd name="connsiteY0" fmla="*/ 174845 h 1216280"/>
                    <a:gd name="connsiteX1" fmla="*/ 495186 w 1460432"/>
                    <a:gd name="connsiteY1" fmla="*/ 13411 h 1216280"/>
                    <a:gd name="connsiteX2" fmla="*/ 969055 w 1460432"/>
                    <a:gd name="connsiteY2" fmla="*/ 8649 h 1216280"/>
                    <a:gd name="connsiteX3" fmla="*/ 1341370 w 1460432"/>
                    <a:gd name="connsiteY3" fmla="*/ 174845 h 1216280"/>
                    <a:gd name="connsiteX4" fmla="*/ 1460432 w 1460432"/>
                    <a:gd name="connsiteY4" fmla="*/ 1010933 h 1216280"/>
                    <a:gd name="connsiteX5" fmla="*/ 626156 w 1460432"/>
                    <a:gd name="connsiteY5" fmla="*/ 1215943 h 1216280"/>
                    <a:gd name="connsiteX6" fmla="*/ 130856 w 1460432"/>
                    <a:gd name="connsiteY6" fmla="*/ 1154031 h 1216280"/>
                    <a:gd name="connsiteX7" fmla="*/ 725 w 1460432"/>
                    <a:gd name="connsiteY7" fmla="*/ 994264 h 1216280"/>
                    <a:gd name="connsiteX8" fmla="*/ 115025 w 1460432"/>
                    <a:gd name="connsiteY8" fmla="*/ 174845 h 1216280"/>
                    <a:gd name="connsiteX0" fmla="*/ 115025 w 1460432"/>
                    <a:gd name="connsiteY0" fmla="*/ 174845 h 1216379"/>
                    <a:gd name="connsiteX1" fmla="*/ 495186 w 1460432"/>
                    <a:gd name="connsiteY1" fmla="*/ 13411 h 1216379"/>
                    <a:gd name="connsiteX2" fmla="*/ 969055 w 1460432"/>
                    <a:gd name="connsiteY2" fmla="*/ 8649 h 1216379"/>
                    <a:gd name="connsiteX3" fmla="*/ 1341370 w 1460432"/>
                    <a:gd name="connsiteY3" fmla="*/ 174845 h 1216379"/>
                    <a:gd name="connsiteX4" fmla="*/ 1460432 w 1460432"/>
                    <a:gd name="connsiteY4" fmla="*/ 1010933 h 1216379"/>
                    <a:gd name="connsiteX5" fmla="*/ 626156 w 1460432"/>
                    <a:gd name="connsiteY5" fmla="*/ 1215943 h 1216379"/>
                    <a:gd name="connsiteX6" fmla="*/ 130856 w 1460432"/>
                    <a:gd name="connsiteY6" fmla="*/ 1154031 h 1216379"/>
                    <a:gd name="connsiteX7" fmla="*/ 725 w 1460432"/>
                    <a:gd name="connsiteY7" fmla="*/ 994264 h 1216379"/>
                    <a:gd name="connsiteX8" fmla="*/ 115025 w 1460432"/>
                    <a:gd name="connsiteY8" fmla="*/ 174845 h 1216379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0904"/>
                    <a:gd name="connsiteX1" fmla="*/ 495186 w 1460432"/>
                    <a:gd name="connsiteY1" fmla="*/ 13411 h 1230904"/>
                    <a:gd name="connsiteX2" fmla="*/ 969055 w 1460432"/>
                    <a:gd name="connsiteY2" fmla="*/ 8649 h 1230904"/>
                    <a:gd name="connsiteX3" fmla="*/ 1341370 w 1460432"/>
                    <a:gd name="connsiteY3" fmla="*/ 174845 h 1230904"/>
                    <a:gd name="connsiteX4" fmla="*/ 1460432 w 1460432"/>
                    <a:gd name="connsiteY4" fmla="*/ 1010933 h 1230904"/>
                    <a:gd name="connsiteX5" fmla="*/ 854756 w 1460432"/>
                    <a:gd name="connsiteY5" fmla="*/ 1213562 h 1230904"/>
                    <a:gd name="connsiteX6" fmla="*/ 626156 w 1460432"/>
                    <a:gd name="connsiteY6" fmla="*/ 1215943 h 1230904"/>
                    <a:gd name="connsiteX7" fmla="*/ 130856 w 1460432"/>
                    <a:gd name="connsiteY7" fmla="*/ 1154031 h 1230904"/>
                    <a:gd name="connsiteX8" fmla="*/ 725 w 1460432"/>
                    <a:gd name="connsiteY8" fmla="*/ 994264 h 1230904"/>
                    <a:gd name="connsiteX9" fmla="*/ 115025 w 1460432"/>
                    <a:gd name="connsiteY9" fmla="*/ 174845 h 1230904"/>
                    <a:gd name="connsiteX0" fmla="*/ 115025 w 1460432"/>
                    <a:gd name="connsiteY0" fmla="*/ 174845 h 1235980"/>
                    <a:gd name="connsiteX1" fmla="*/ 495186 w 1460432"/>
                    <a:gd name="connsiteY1" fmla="*/ 13411 h 1235980"/>
                    <a:gd name="connsiteX2" fmla="*/ 969055 w 1460432"/>
                    <a:gd name="connsiteY2" fmla="*/ 8649 h 1235980"/>
                    <a:gd name="connsiteX3" fmla="*/ 1341370 w 1460432"/>
                    <a:gd name="connsiteY3" fmla="*/ 174845 h 1235980"/>
                    <a:gd name="connsiteX4" fmla="*/ 1460432 w 1460432"/>
                    <a:gd name="connsiteY4" fmla="*/ 1010933 h 1235980"/>
                    <a:gd name="connsiteX5" fmla="*/ 849994 w 1460432"/>
                    <a:gd name="connsiteY5" fmla="*/ 1220706 h 1235980"/>
                    <a:gd name="connsiteX6" fmla="*/ 626156 w 1460432"/>
                    <a:gd name="connsiteY6" fmla="*/ 1215943 h 1235980"/>
                    <a:gd name="connsiteX7" fmla="*/ 130856 w 1460432"/>
                    <a:gd name="connsiteY7" fmla="*/ 1154031 h 1235980"/>
                    <a:gd name="connsiteX8" fmla="*/ 725 w 1460432"/>
                    <a:gd name="connsiteY8" fmla="*/ 994264 h 1235980"/>
                    <a:gd name="connsiteX9" fmla="*/ 115025 w 1460432"/>
                    <a:gd name="connsiteY9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849994 w 1450907"/>
                    <a:gd name="connsiteY5" fmla="*/ 1220706 h 1235980"/>
                    <a:gd name="connsiteX6" fmla="*/ 626156 w 1450907"/>
                    <a:gd name="connsiteY6" fmla="*/ 1215943 h 1235980"/>
                    <a:gd name="connsiteX7" fmla="*/ 130856 w 1450907"/>
                    <a:gd name="connsiteY7" fmla="*/ 1154031 h 1235980"/>
                    <a:gd name="connsiteX8" fmla="*/ 725 w 1450907"/>
                    <a:gd name="connsiteY8" fmla="*/ 994264 h 1235980"/>
                    <a:gd name="connsiteX9" fmla="*/ 115025 w 1450907"/>
                    <a:gd name="connsiteY9" fmla="*/ 174845 h 1235980"/>
                    <a:gd name="connsiteX0" fmla="*/ 115025 w 1451491"/>
                    <a:gd name="connsiteY0" fmla="*/ 174845 h 1235980"/>
                    <a:gd name="connsiteX1" fmla="*/ 495186 w 1451491"/>
                    <a:gd name="connsiteY1" fmla="*/ 13411 h 1235980"/>
                    <a:gd name="connsiteX2" fmla="*/ 969055 w 1451491"/>
                    <a:gd name="connsiteY2" fmla="*/ 8649 h 1235980"/>
                    <a:gd name="connsiteX3" fmla="*/ 1341370 w 1451491"/>
                    <a:gd name="connsiteY3" fmla="*/ 174845 h 1235980"/>
                    <a:gd name="connsiteX4" fmla="*/ 1450907 w 1451491"/>
                    <a:gd name="connsiteY4" fmla="*/ 1010933 h 1235980"/>
                    <a:gd name="connsiteX5" fmla="*/ 1338151 w 1451491"/>
                    <a:gd name="connsiteY5" fmla="*/ 1058780 h 1235980"/>
                    <a:gd name="connsiteX6" fmla="*/ 849994 w 1451491"/>
                    <a:gd name="connsiteY6" fmla="*/ 1220706 h 1235980"/>
                    <a:gd name="connsiteX7" fmla="*/ 626156 w 1451491"/>
                    <a:gd name="connsiteY7" fmla="*/ 1215943 h 1235980"/>
                    <a:gd name="connsiteX8" fmla="*/ 130856 w 1451491"/>
                    <a:gd name="connsiteY8" fmla="*/ 1154031 h 1235980"/>
                    <a:gd name="connsiteX9" fmla="*/ 725 w 1451491"/>
                    <a:gd name="connsiteY9" fmla="*/ 994264 h 1235980"/>
                    <a:gd name="connsiteX10" fmla="*/ 115025 w 145149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25455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2411"/>
                    <a:gd name="connsiteY0" fmla="*/ 174845 h 1235980"/>
                    <a:gd name="connsiteX1" fmla="*/ 495186 w 1452411"/>
                    <a:gd name="connsiteY1" fmla="*/ 13411 h 1235980"/>
                    <a:gd name="connsiteX2" fmla="*/ 969055 w 1452411"/>
                    <a:gd name="connsiteY2" fmla="*/ 8649 h 1235980"/>
                    <a:gd name="connsiteX3" fmla="*/ 1341370 w 1452411"/>
                    <a:gd name="connsiteY3" fmla="*/ 174845 h 1235980"/>
                    <a:gd name="connsiteX4" fmla="*/ 1450907 w 1452411"/>
                    <a:gd name="connsiteY4" fmla="*/ 1010933 h 1235980"/>
                    <a:gd name="connsiteX5" fmla="*/ 1357201 w 1452411"/>
                    <a:gd name="connsiteY5" fmla="*/ 1132598 h 1235980"/>
                    <a:gd name="connsiteX6" fmla="*/ 849994 w 1452411"/>
                    <a:gd name="connsiteY6" fmla="*/ 1220706 h 1235980"/>
                    <a:gd name="connsiteX7" fmla="*/ 626156 w 1452411"/>
                    <a:gd name="connsiteY7" fmla="*/ 1215943 h 1235980"/>
                    <a:gd name="connsiteX8" fmla="*/ 130856 w 1452411"/>
                    <a:gd name="connsiteY8" fmla="*/ 1154031 h 1235980"/>
                    <a:gd name="connsiteX9" fmla="*/ 725 w 1452411"/>
                    <a:gd name="connsiteY9" fmla="*/ 994264 h 1235980"/>
                    <a:gd name="connsiteX10" fmla="*/ 115025 w 1452411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0907"/>
                    <a:gd name="connsiteY0" fmla="*/ 174845 h 1235980"/>
                    <a:gd name="connsiteX1" fmla="*/ 495186 w 1450907"/>
                    <a:gd name="connsiteY1" fmla="*/ 13411 h 1235980"/>
                    <a:gd name="connsiteX2" fmla="*/ 969055 w 1450907"/>
                    <a:gd name="connsiteY2" fmla="*/ 8649 h 1235980"/>
                    <a:gd name="connsiteX3" fmla="*/ 1341370 w 1450907"/>
                    <a:gd name="connsiteY3" fmla="*/ 174845 h 1235980"/>
                    <a:gd name="connsiteX4" fmla="*/ 1450907 w 1450907"/>
                    <a:gd name="connsiteY4" fmla="*/ 1010933 h 1235980"/>
                    <a:gd name="connsiteX5" fmla="*/ 1357201 w 1450907"/>
                    <a:gd name="connsiteY5" fmla="*/ 1132598 h 1235980"/>
                    <a:gd name="connsiteX6" fmla="*/ 849994 w 1450907"/>
                    <a:gd name="connsiteY6" fmla="*/ 1220706 h 1235980"/>
                    <a:gd name="connsiteX7" fmla="*/ 626156 w 1450907"/>
                    <a:gd name="connsiteY7" fmla="*/ 1215943 h 1235980"/>
                    <a:gd name="connsiteX8" fmla="*/ 130856 w 1450907"/>
                    <a:gd name="connsiteY8" fmla="*/ 1154031 h 1235980"/>
                    <a:gd name="connsiteX9" fmla="*/ 725 w 1450907"/>
                    <a:gd name="connsiteY9" fmla="*/ 994264 h 1235980"/>
                    <a:gd name="connsiteX10" fmla="*/ 115025 w 1450907"/>
                    <a:gd name="connsiteY10" fmla="*/ 174845 h 1235980"/>
                    <a:gd name="connsiteX0" fmla="*/ 115025 w 1453288"/>
                    <a:gd name="connsiteY0" fmla="*/ 174845 h 1235980"/>
                    <a:gd name="connsiteX1" fmla="*/ 495186 w 1453288"/>
                    <a:gd name="connsiteY1" fmla="*/ 13411 h 1235980"/>
                    <a:gd name="connsiteX2" fmla="*/ 969055 w 1453288"/>
                    <a:gd name="connsiteY2" fmla="*/ 8649 h 1235980"/>
                    <a:gd name="connsiteX3" fmla="*/ 1341370 w 1453288"/>
                    <a:gd name="connsiteY3" fmla="*/ 174845 h 1235980"/>
                    <a:gd name="connsiteX4" fmla="*/ 1453288 w 1453288"/>
                    <a:gd name="connsiteY4" fmla="*/ 1010933 h 1235980"/>
                    <a:gd name="connsiteX5" fmla="*/ 1357201 w 1453288"/>
                    <a:gd name="connsiteY5" fmla="*/ 1132598 h 1235980"/>
                    <a:gd name="connsiteX6" fmla="*/ 849994 w 1453288"/>
                    <a:gd name="connsiteY6" fmla="*/ 1220706 h 1235980"/>
                    <a:gd name="connsiteX7" fmla="*/ 626156 w 1453288"/>
                    <a:gd name="connsiteY7" fmla="*/ 1215943 h 1235980"/>
                    <a:gd name="connsiteX8" fmla="*/ 130856 w 1453288"/>
                    <a:gd name="connsiteY8" fmla="*/ 1154031 h 1235980"/>
                    <a:gd name="connsiteX9" fmla="*/ 725 w 1453288"/>
                    <a:gd name="connsiteY9" fmla="*/ 994264 h 1235980"/>
                    <a:gd name="connsiteX10" fmla="*/ 115025 w 1453288"/>
                    <a:gd name="connsiteY10" fmla="*/ 174845 h 1235980"/>
                    <a:gd name="connsiteX0" fmla="*/ 115025 w 1453884"/>
                    <a:gd name="connsiteY0" fmla="*/ 174845 h 1235980"/>
                    <a:gd name="connsiteX1" fmla="*/ 495186 w 1453884"/>
                    <a:gd name="connsiteY1" fmla="*/ 13411 h 1235980"/>
                    <a:gd name="connsiteX2" fmla="*/ 969055 w 1453884"/>
                    <a:gd name="connsiteY2" fmla="*/ 8649 h 1235980"/>
                    <a:gd name="connsiteX3" fmla="*/ 1341370 w 1453884"/>
                    <a:gd name="connsiteY3" fmla="*/ 174845 h 1235980"/>
                    <a:gd name="connsiteX4" fmla="*/ 1453288 w 1453884"/>
                    <a:gd name="connsiteY4" fmla="*/ 1010933 h 1235980"/>
                    <a:gd name="connsiteX5" fmla="*/ 1357201 w 1453884"/>
                    <a:gd name="connsiteY5" fmla="*/ 1132598 h 1235980"/>
                    <a:gd name="connsiteX6" fmla="*/ 849994 w 1453884"/>
                    <a:gd name="connsiteY6" fmla="*/ 1220706 h 1235980"/>
                    <a:gd name="connsiteX7" fmla="*/ 626156 w 1453884"/>
                    <a:gd name="connsiteY7" fmla="*/ 1215943 h 1235980"/>
                    <a:gd name="connsiteX8" fmla="*/ 130856 w 1453884"/>
                    <a:gd name="connsiteY8" fmla="*/ 1154031 h 1235980"/>
                    <a:gd name="connsiteX9" fmla="*/ 725 w 1453884"/>
                    <a:gd name="connsiteY9" fmla="*/ 994264 h 1235980"/>
                    <a:gd name="connsiteX10" fmla="*/ 115025 w 1453884"/>
                    <a:gd name="connsiteY10" fmla="*/ 174845 h 1235980"/>
                    <a:gd name="connsiteX0" fmla="*/ 115025 w 1453884"/>
                    <a:gd name="connsiteY0" fmla="*/ 174845 h 1221126"/>
                    <a:gd name="connsiteX1" fmla="*/ 495186 w 1453884"/>
                    <a:gd name="connsiteY1" fmla="*/ 13411 h 1221126"/>
                    <a:gd name="connsiteX2" fmla="*/ 969055 w 1453884"/>
                    <a:gd name="connsiteY2" fmla="*/ 8649 h 1221126"/>
                    <a:gd name="connsiteX3" fmla="*/ 1341370 w 1453884"/>
                    <a:gd name="connsiteY3" fmla="*/ 174845 h 1221126"/>
                    <a:gd name="connsiteX4" fmla="*/ 1453288 w 1453884"/>
                    <a:gd name="connsiteY4" fmla="*/ 1010933 h 1221126"/>
                    <a:gd name="connsiteX5" fmla="*/ 1357201 w 1453884"/>
                    <a:gd name="connsiteY5" fmla="*/ 1132598 h 1221126"/>
                    <a:gd name="connsiteX6" fmla="*/ 849994 w 1453884"/>
                    <a:gd name="connsiteY6" fmla="*/ 1220706 h 1221126"/>
                    <a:gd name="connsiteX7" fmla="*/ 752362 w 1453884"/>
                    <a:gd name="connsiteY7" fmla="*/ 751598 h 1221126"/>
                    <a:gd name="connsiteX8" fmla="*/ 626156 w 1453884"/>
                    <a:gd name="connsiteY8" fmla="*/ 1215943 h 1221126"/>
                    <a:gd name="connsiteX9" fmla="*/ 130856 w 1453884"/>
                    <a:gd name="connsiteY9" fmla="*/ 1154031 h 1221126"/>
                    <a:gd name="connsiteX10" fmla="*/ 725 w 1453884"/>
                    <a:gd name="connsiteY10" fmla="*/ 994264 h 1221126"/>
                    <a:gd name="connsiteX11" fmla="*/ 115025 w 1453884"/>
                    <a:gd name="connsiteY11" fmla="*/ 174845 h 1221126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26156 w 1453884"/>
                    <a:gd name="connsiteY8" fmla="*/ 1215943 h 1220914"/>
                    <a:gd name="connsiteX9" fmla="*/ 130856 w 1453884"/>
                    <a:gd name="connsiteY9" fmla="*/ 1154031 h 1220914"/>
                    <a:gd name="connsiteX10" fmla="*/ 725 w 1453884"/>
                    <a:gd name="connsiteY10" fmla="*/ 994264 h 1220914"/>
                    <a:gd name="connsiteX11" fmla="*/ 115025 w 1453884"/>
                    <a:gd name="connsiteY11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83306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15943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540431 w 1453884"/>
                    <a:gd name="connsiteY9" fmla="*/ 1165937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35681 w 1453884"/>
                    <a:gd name="connsiteY9" fmla="*/ 1201655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26156 w 1453884"/>
                    <a:gd name="connsiteY9" fmla="*/ 1206418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74845 h 1220914"/>
                    <a:gd name="connsiteX1" fmla="*/ 495186 w 1453884"/>
                    <a:gd name="connsiteY1" fmla="*/ 13411 h 1220914"/>
                    <a:gd name="connsiteX2" fmla="*/ 969055 w 1453884"/>
                    <a:gd name="connsiteY2" fmla="*/ 8649 h 1220914"/>
                    <a:gd name="connsiteX3" fmla="*/ 1341370 w 1453884"/>
                    <a:gd name="connsiteY3" fmla="*/ 174845 h 1220914"/>
                    <a:gd name="connsiteX4" fmla="*/ 1453288 w 1453884"/>
                    <a:gd name="connsiteY4" fmla="*/ 1010933 h 1220914"/>
                    <a:gd name="connsiteX5" fmla="*/ 1357201 w 1453884"/>
                    <a:gd name="connsiteY5" fmla="*/ 1132598 h 1220914"/>
                    <a:gd name="connsiteX6" fmla="*/ 849994 w 1453884"/>
                    <a:gd name="connsiteY6" fmla="*/ 1220706 h 1220914"/>
                    <a:gd name="connsiteX7" fmla="*/ 769031 w 1453884"/>
                    <a:gd name="connsiteY7" fmla="*/ 249154 h 1220914"/>
                    <a:gd name="connsiteX8" fmla="*/ 695213 w 1453884"/>
                    <a:gd name="connsiteY8" fmla="*/ 253917 h 1220914"/>
                    <a:gd name="connsiteX9" fmla="*/ 642824 w 1453884"/>
                    <a:gd name="connsiteY9" fmla="*/ 1208799 h 1220914"/>
                    <a:gd name="connsiteX10" fmla="*/ 130856 w 1453884"/>
                    <a:gd name="connsiteY10" fmla="*/ 1154031 h 1220914"/>
                    <a:gd name="connsiteX11" fmla="*/ 725 w 1453884"/>
                    <a:gd name="connsiteY11" fmla="*/ 994264 h 1220914"/>
                    <a:gd name="connsiteX12" fmla="*/ 115025 w 1453884"/>
                    <a:gd name="connsiteY12" fmla="*/ 174845 h 1220914"/>
                    <a:gd name="connsiteX0" fmla="*/ 115025 w 1453884"/>
                    <a:gd name="connsiteY0" fmla="*/ 185251 h 1231320"/>
                    <a:gd name="connsiteX1" fmla="*/ 495186 w 1453884"/>
                    <a:gd name="connsiteY1" fmla="*/ 23817 h 1231320"/>
                    <a:gd name="connsiteX2" fmla="*/ 969055 w 1453884"/>
                    <a:gd name="connsiteY2" fmla="*/ 19055 h 1231320"/>
                    <a:gd name="connsiteX3" fmla="*/ 1341370 w 1453884"/>
                    <a:gd name="connsiteY3" fmla="*/ 185251 h 1231320"/>
                    <a:gd name="connsiteX4" fmla="*/ 1453288 w 1453884"/>
                    <a:gd name="connsiteY4" fmla="*/ 1021339 h 1231320"/>
                    <a:gd name="connsiteX5" fmla="*/ 1357201 w 1453884"/>
                    <a:gd name="connsiteY5" fmla="*/ 1143004 h 1231320"/>
                    <a:gd name="connsiteX6" fmla="*/ 849994 w 1453884"/>
                    <a:gd name="connsiteY6" fmla="*/ 1231112 h 1231320"/>
                    <a:gd name="connsiteX7" fmla="*/ 769031 w 1453884"/>
                    <a:gd name="connsiteY7" fmla="*/ 259560 h 1231320"/>
                    <a:gd name="connsiteX8" fmla="*/ 711881 w 1453884"/>
                    <a:gd name="connsiteY8" fmla="*/ 4 h 1231320"/>
                    <a:gd name="connsiteX9" fmla="*/ 695213 w 1453884"/>
                    <a:gd name="connsiteY9" fmla="*/ 264323 h 1231320"/>
                    <a:gd name="connsiteX10" fmla="*/ 642824 w 1453884"/>
                    <a:gd name="connsiteY10" fmla="*/ 1219205 h 1231320"/>
                    <a:gd name="connsiteX11" fmla="*/ 130856 w 1453884"/>
                    <a:gd name="connsiteY11" fmla="*/ 1164437 h 1231320"/>
                    <a:gd name="connsiteX12" fmla="*/ 725 w 1453884"/>
                    <a:gd name="connsiteY12" fmla="*/ 1004670 h 1231320"/>
                    <a:gd name="connsiteX13" fmla="*/ 115025 w 1453884"/>
                    <a:gd name="connsiteY13" fmla="*/ 185251 h 1231320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5213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15"/>
                    <a:gd name="connsiteX1" fmla="*/ 495186 w 1453884"/>
                    <a:gd name="connsiteY1" fmla="*/ 13412 h 1220915"/>
                    <a:gd name="connsiteX2" fmla="*/ 969055 w 1453884"/>
                    <a:gd name="connsiteY2" fmla="*/ 8650 h 1220915"/>
                    <a:gd name="connsiteX3" fmla="*/ 1341370 w 1453884"/>
                    <a:gd name="connsiteY3" fmla="*/ 174846 h 1220915"/>
                    <a:gd name="connsiteX4" fmla="*/ 1453288 w 1453884"/>
                    <a:gd name="connsiteY4" fmla="*/ 1010934 h 1220915"/>
                    <a:gd name="connsiteX5" fmla="*/ 1357201 w 1453884"/>
                    <a:gd name="connsiteY5" fmla="*/ 1132599 h 1220915"/>
                    <a:gd name="connsiteX6" fmla="*/ 849994 w 1453884"/>
                    <a:gd name="connsiteY6" fmla="*/ 1220707 h 1220915"/>
                    <a:gd name="connsiteX7" fmla="*/ 769031 w 1453884"/>
                    <a:gd name="connsiteY7" fmla="*/ 249155 h 1220915"/>
                    <a:gd name="connsiteX8" fmla="*/ 728550 w 1453884"/>
                    <a:gd name="connsiteY8" fmla="*/ 172956 h 1220915"/>
                    <a:gd name="connsiteX9" fmla="*/ 690451 w 1453884"/>
                    <a:gd name="connsiteY9" fmla="*/ 253918 h 1220915"/>
                    <a:gd name="connsiteX10" fmla="*/ 642824 w 1453884"/>
                    <a:gd name="connsiteY10" fmla="*/ 1208800 h 1220915"/>
                    <a:gd name="connsiteX11" fmla="*/ 130856 w 1453884"/>
                    <a:gd name="connsiteY11" fmla="*/ 1154032 h 1220915"/>
                    <a:gd name="connsiteX12" fmla="*/ 725 w 1453884"/>
                    <a:gd name="connsiteY12" fmla="*/ 994265 h 1220915"/>
                    <a:gd name="connsiteX13" fmla="*/ 115025 w 1453884"/>
                    <a:gd name="connsiteY13" fmla="*/ 174846 h 1220915"/>
                    <a:gd name="connsiteX0" fmla="*/ 115025 w 1453884"/>
                    <a:gd name="connsiteY0" fmla="*/ 174846 h 1220930"/>
                    <a:gd name="connsiteX1" fmla="*/ 495186 w 1453884"/>
                    <a:gd name="connsiteY1" fmla="*/ 13412 h 1220930"/>
                    <a:gd name="connsiteX2" fmla="*/ 969055 w 1453884"/>
                    <a:gd name="connsiteY2" fmla="*/ 8650 h 1220930"/>
                    <a:gd name="connsiteX3" fmla="*/ 1341370 w 1453884"/>
                    <a:gd name="connsiteY3" fmla="*/ 174846 h 1220930"/>
                    <a:gd name="connsiteX4" fmla="*/ 1453288 w 1453884"/>
                    <a:gd name="connsiteY4" fmla="*/ 1010934 h 1220930"/>
                    <a:gd name="connsiteX5" fmla="*/ 1357201 w 1453884"/>
                    <a:gd name="connsiteY5" fmla="*/ 1132599 h 1220930"/>
                    <a:gd name="connsiteX6" fmla="*/ 849994 w 1453884"/>
                    <a:gd name="connsiteY6" fmla="*/ 1220707 h 1220930"/>
                    <a:gd name="connsiteX7" fmla="*/ 769031 w 1453884"/>
                    <a:gd name="connsiteY7" fmla="*/ 249155 h 1220930"/>
                    <a:gd name="connsiteX8" fmla="*/ 728550 w 1453884"/>
                    <a:gd name="connsiteY8" fmla="*/ 172956 h 1220930"/>
                    <a:gd name="connsiteX9" fmla="*/ 690451 w 1453884"/>
                    <a:gd name="connsiteY9" fmla="*/ 253918 h 1220930"/>
                    <a:gd name="connsiteX10" fmla="*/ 642824 w 1453884"/>
                    <a:gd name="connsiteY10" fmla="*/ 1208800 h 1220930"/>
                    <a:gd name="connsiteX11" fmla="*/ 130856 w 1453884"/>
                    <a:gd name="connsiteY11" fmla="*/ 1154032 h 1220930"/>
                    <a:gd name="connsiteX12" fmla="*/ 725 w 1453884"/>
                    <a:gd name="connsiteY12" fmla="*/ 994265 h 1220930"/>
                    <a:gd name="connsiteX13" fmla="*/ 115025 w 1453884"/>
                    <a:gd name="connsiteY13" fmla="*/ 174846 h 1220930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49994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4846 h 1220707"/>
                    <a:gd name="connsiteX1" fmla="*/ 495186 w 1453884"/>
                    <a:gd name="connsiteY1" fmla="*/ 13412 h 1220707"/>
                    <a:gd name="connsiteX2" fmla="*/ 969055 w 1453884"/>
                    <a:gd name="connsiteY2" fmla="*/ 8650 h 1220707"/>
                    <a:gd name="connsiteX3" fmla="*/ 1341370 w 1453884"/>
                    <a:gd name="connsiteY3" fmla="*/ 174846 h 1220707"/>
                    <a:gd name="connsiteX4" fmla="*/ 1453288 w 1453884"/>
                    <a:gd name="connsiteY4" fmla="*/ 1010934 h 1220707"/>
                    <a:gd name="connsiteX5" fmla="*/ 1357201 w 1453884"/>
                    <a:gd name="connsiteY5" fmla="*/ 1132599 h 1220707"/>
                    <a:gd name="connsiteX6" fmla="*/ 838087 w 1453884"/>
                    <a:gd name="connsiteY6" fmla="*/ 1220707 h 1220707"/>
                    <a:gd name="connsiteX7" fmla="*/ 769031 w 1453884"/>
                    <a:gd name="connsiteY7" fmla="*/ 249155 h 1220707"/>
                    <a:gd name="connsiteX8" fmla="*/ 728550 w 1453884"/>
                    <a:gd name="connsiteY8" fmla="*/ 172956 h 1220707"/>
                    <a:gd name="connsiteX9" fmla="*/ 690451 w 1453884"/>
                    <a:gd name="connsiteY9" fmla="*/ 253918 h 1220707"/>
                    <a:gd name="connsiteX10" fmla="*/ 642824 w 1453884"/>
                    <a:gd name="connsiteY10" fmla="*/ 1208800 h 1220707"/>
                    <a:gd name="connsiteX11" fmla="*/ 130856 w 1453884"/>
                    <a:gd name="connsiteY11" fmla="*/ 1154032 h 1220707"/>
                    <a:gd name="connsiteX12" fmla="*/ 725 w 1453884"/>
                    <a:gd name="connsiteY12" fmla="*/ 994265 h 1220707"/>
                    <a:gd name="connsiteX13" fmla="*/ 115025 w 1453884"/>
                    <a:gd name="connsiteY13" fmla="*/ 174846 h 1220707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5135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352 h 1216213"/>
                    <a:gd name="connsiteX1" fmla="*/ 495186 w 1453884"/>
                    <a:gd name="connsiteY1" fmla="*/ 8918 h 1216213"/>
                    <a:gd name="connsiteX2" fmla="*/ 723592 w 1453884"/>
                    <a:gd name="connsiteY2" fmla="*/ 95086 h 1216213"/>
                    <a:gd name="connsiteX3" fmla="*/ 969055 w 1453884"/>
                    <a:gd name="connsiteY3" fmla="*/ 4156 h 1216213"/>
                    <a:gd name="connsiteX4" fmla="*/ 1341370 w 1453884"/>
                    <a:gd name="connsiteY4" fmla="*/ 170352 h 1216213"/>
                    <a:gd name="connsiteX5" fmla="*/ 1453288 w 1453884"/>
                    <a:gd name="connsiteY5" fmla="*/ 1006440 h 1216213"/>
                    <a:gd name="connsiteX6" fmla="*/ 1357201 w 1453884"/>
                    <a:gd name="connsiteY6" fmla="*/ 1128105 h 1216213"/>
                    <a:gd name="connsiteX7" fmla="*/ 838087 w 1453884"/>
                    <a:gd name="connsiteY7" fmla="*/ 1216213 h 1216213"/>
                    <a:gd name="connsiteX8" fmla="*/ 769031 w 1453884"/>
                    <a:gd name="connsiteY8" fmla="*/ 244661 h 1216213"/>
                    <a:gd name="connsiteX9" fmla="*/ 728550 w 1453884"/>
                    <a:gd name="connsiteY9" fmla="*/ 168462 h 1216213"/>
                    <a:gd name="connsiteX10" fmla="*/ 690451 w 1453884"/>
                    <a:gd name="connsiteY10" fmla="*/ 249424 h 1216213"/>
                    <a:gd name="connsiteX11" fmla="*/ 642824 w 1453884"/>
                    <a:gd name="connsiteY11" fmla="*/ 1204306 h 1216213"/>
                    <a:gd name="connsiteX12" fmla="*/ 130856 w 1453884"/>
                    <a:gd name="connsiteY12" fmla="*/ 1149538 h 1216213"/>
                    <a:gd name="connsiteX13" fmla="*/ 725 w 1453884"/>
                    <a:gd name="connsiteY13" fmla="*/ 989771 h 1216213"/>
                    <a:gd name="connsiteX14" fmla="*/ 115025 w 1453884"/>
                    <a:gd name="connsiteY14" fmla="*/ 170352 h 121621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70762 h 1216623"/>
                    <a:gd name="connsiteX1" fmla="*/ 495186 w 1453884"/>
                    <a:gd name="connsiteY1" fmla="*/ 9328 h 1216623"/>
                    <a:gd name="connsiteX2" fmla="*/ 647987 w 1453884"/>
                    <a:gd name="connsiteY2" fmla="*/ 243618 h 1216623"/>
                    <a:gd name="connsiteX3" fmla="*/ 723592 w 1453884"/>
                    <a:gd name="connsiteY3" fmla="*/ 95496 h 1216623"/>
                    <a:gd name="connsiteX4" fmla="*/ 969055 w 1453884"/>
                    <a:gd name="connsiteY4" fmla="*/ 4566 h 1216623"/>
                    <a:gd name="connsiteX5" fmla="*/ 1341370 w 1453884"/>
                    <a:gd name="connsiteY5" fmla="*/ 170762 h 1216623"/>
                    <a:gd name="connsiteX6" fmla="*/ 1453288 w 1453884"/>
                    <a:gd name="connsiteY6" fmla="*/ 1006850 h 1216623"/>
                    <a:gd name="connsiteX7" fmla="*/ 1357201 w 1453884"/>
                    <a:gd name="connsiteY7" fmla="*/ 1128515 h 1216623"/>
                    <a:gd name="connsiteX8" fmla="*/ 838087 w 1453884"/>
                    <a:gd name="connsiteY8" fmla="*/ 1216623 h 1216623"/>
                    <a:gd name="connsiteX9" fmla="*/ 769031 w 1453884"/>
                    <a:gd name="connsiteY9" fmla="*/ 245071 h 1216623"/>
                    <a:gd name="connsiteX10" fmla="*/ 728550 w 1453884"/>
                    <a:gd name="connsiteY10" fmla="*/ 168872 h 1216623"/>
                    <a:gd name="connsiteX11" fmla="*/ 690451 w 1453884"/>
                    <a:gd name="connsiteY11" fmla="*/ 249834 h 1216623"/>
                    <a:gd name="connsiteX12" fmla="*/ 642824 w 1453884"/>
                    <a:gd name="connsiteY12" fmla="*/ 1204716 h 1216623"/>
                    <a:gd name="connsiteX13" fmla="*/ 130856 w 1453884"/>
                    <a:gd name="connsiteY13" fmla="*/ 1149948 h 1216623"/>
                    <a:gd name="connsiteX14" fmla="*/ 725 w 1453884"/>
                    <a:gd name="connsiteY14" fmla="*/ 990181 h 1216623"/>
                    <a:gd name="connsiteX15" fmla="*/ 115025 w 1453884"/>
                    <a:gd name="connsiteY15" fmla="*/ 170762 h 1216623"/>
                    <a:gd name="connsiteX0" fmla="*/ 115025 w 1453884"/>
                    <a:gd name="connsiteY0" fmla="*/ 167224 h 1213085"/>
                    <a:gd name="connsiteX1" fmla="*/ 495186 w 1453884"/>
                    <a:gd name="connsiteY1" fmla="*/ 5790 h 1213085"/>
                    <a:gd name="connsiteX2" fmla="*/ 647987 w 1453884"/>
                    <a:gd name="connsiteY2" fmla="*/ 240080 h 1213085"/>
                    <a:gd name="connsiteX3" fmla="*/ 723592 w 1453884"/>
                    <a:gd name="connsiteY3" fmla="*/ 91958 h 1213085"/>
                    <a:gd name="connsiteX4" fmla="*/ 816169 w 1453884"/>
                    <a:gd name="connsiteY4" fmla="*/ 233908 h 1213085"/>
                    <a:gd name="connsiteX5" fmla="*/ 969055 w 1453884"/>
                    <a:gd name="connsiteY5" fmla="*/ 1028 h 1213085"/>
                    <a:gd name="connsiteX6" fmla="*/ 1341370 w 1453884"/>
                    <a:gd name="connsiteY6" fmla="*/ 167224 h 1213085"/>
                    <a:gd name="connsiteX7" fmla="*/ 1453288 w 1453884"/>
                    <a:gd name="connsiteY7" fmla="*/ 1003312 h 1213085"/>
                    <a:gd name="connsiteX8" fmla="*/ 1357201 w 1453884"/>
                    <a:gd name="connsiteY8" fmla="*/ 1124977 h 1213085"/>
                    <a:gd name="connsiteX9" fmla="*/ 838087 w 1453884"/>
                    <a:gd name="connsiteY9" fmla="*/ 1213085 h 1213085"/>
                    <a:gd name="connsiteX10" fmla="*/ 769031 w 1453884"/>
                    <a:gd name="connsiteY10" fmla="*/ 241533 h 1213085"/>
                    <a:gd name="connsiteX11" fmla="*/ 728550 w 1453884"/>
                    <a:gd name="connsiteY11" fmla="*/ 165334 h 1213085"/>
                    <a:gd name="connsiteX12" fmla="*/ 690451 w 1453884"/>
                    <a:gd name="connsiteY12" fmla="*/ 246296 h 1213085"/>
                    <a:gd name="connsiteX13" fmla="*/ 642824 w 1453884"/>
                    <a:gd name="connsiteY13" fmla="*/ 1201178 h 1213085"/>
                    <a:gd name="connsiteX14" fmla="*/ 130856 w 1453884"/>
                    <a:gd name="connsiteY14" fmla="*/ 1146410 h 1213085"/>
                    <a:gd name="connsiteX15" fmla="*/ 725 w 1453884"/>
                    <a:gd name="connsiteY15" fmla="*/ 986643 h 1213085"/>
                    <a:gd name="connsiteX16" fmla="*/ 115025 w 1453884"/>
                    <a:gd name="connsiteY16" fmla="*/ 167224 h 1213085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66196 h 1212057"/>
                    <a:gd name="connsiteX1" fmla="*/ 495186 w 1453884"/>
                    <a:gd name="connsiteY1" fmla="*/ 4762 h 1212057"/>
                    <a:gd name="connsiteX2" fmla="*/ 647987 w 1453884"/>
                    <a:gd name="connsiteY2" fmla="*/ 239052 h 1212057"/>
                    <a:gd name="connsiteX3" fmla="*/ 723592 w 1453884"/>
                    <a:gd name="connsiteY3" fmla="*/ 90930 h 1212057"/>
                    <a:gd name="connsiteX4" fmla="*/ 816169 w 1453884"/>
                    <a:gd name="connsiteY4" fmla="*/ 232880 h 1212057"/>
                    <a:gd name="connsiteX5" fmla="*/ 969055 w 1453884"/>
                    <a:gd name="connsiteY5" fmla="*/ 0 h 1212057"/>
                    <a:gd name="connsiteX6" fmla="*/ 1341370 w 1453884"/>
                    <a:gd name="connsiteY6" fmla="*/ 166196 h 1212057"/>
                    <a:gd name="connsiteX7" fmla="*/ 1453288 w 1453884"/>
                    <a:gd name="connsiteY7" fmla="*/ 1002284 h 1212057"/>
                    <a:gd name="connsiteX8" fmla="*/ 1357201 w 1453884"/>
                    <a:gd name="connsiteY8" fmla="*/ 1123949 h 1212057"/>
                    <a:gd name="connsiteX9" fmla="*/ 838087 w 1453884"/>
                    <a:gd name="connsiteY9" fmla="*/ 1212057 h 1212057"/>
                    <a:gd name="connsiteX10" fmla="*/ 769031 w 1453884"/>
                    <a:gd name="connsiteY10" fmla="*/ 240505 h 1212057"/>
                    <a:gd name="connsiteX11" fmla="*/ 728550 w 1453884"/>
                    <a:gd name="connsiteY11" fmla="*/ 164306 h 1212057"/>
                    <a:gd name="connsiteX12" fmla="*/ 690451 w 1453884"/>
                    <a:gd name="connsiteY12" fmla="*/ 245268 h 1212057"/>
                    <a:gd name="connsiteX13" fmla="*/ 642824 w 1453884"/>
                    <a:gd name="connsiteY13" fmla="*/ 1200150 h 1212057"/>
                    <a:gd name="connsiteX14" fmla="*/ 130856 w 1453884"/>
                    <a:gd name="connsiteY14" fmla="*/ 1145382 h 1212057"/>
                    <a:gd name="connsiteX15" fmla="*/ 725 w 1453884"/>
                    <a:gd name="connsiteY15" fmla="*/ 985615 h 1212057"/>
                    <a:gd name="connsiteX16" fmla="*/ 115025 w 1453884"/>
                    <a:gd name="connsiteY16" fmla="*/ 166196 h 1212057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3592 w 1453884"/>
                    <a:gd name="connsiteY3" fmla="*/ 95558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  <a:gd name="connsiteX0" fmla="*/ 115025 w 1453884"/>
                    <a:gd name="connsiteY0" fmla="*/ 170824 h 1216685"/>
                    <a:gd name="connsiteX1" fmla="*/ 495186 w 1453884"/>
                    <a:gd name="connsiteY1" fmla="*/ 9390 h 1216685"/>
                    <a:gd name="connsiteX2" fmla="*/ 647987 w 1453884"/>
                    <a:gd name="connsiteY2" fmla="*/ 243680 h 1216685"/>
                    <a:gd name="connsiteX3" fmla="*/ 728221 w 1453884"/>
                    <a:gd name="connsiteY3" fmla="*/ 123330 h 1216685"/>
                    <a:gd name="connsiteX4" fmla="*/ 816169 w 1453884"/>
                    <a:gd name="connsiteY4" fmla="*/ 237508 h 1216685"/>
                    <a:gd name="connsiteX5" fmla="*/ 964427 w 1453884"/>
                    <a:gd name="connsiteY5" fmla="*/ 0 h 1216685"/>
                    <a:gd name="connsiteX6" fmla="*/ 1341370 w 1453884"/>
                    <a:gd name="connsiteY6" fmla="*/ 170824 h 1216685"/>
                    <a:gd name="connsiteX7" fmla="*/ 1453288 w 1453884"/>
                    <a:gd name="connsiteY7" fmla="*/ 1006912 h 1216685"/>
                    <a:gd name="connsiteX8" fmla="*/ 1357201 w 1453884"/>
                    <a:gd name="connsiteY8" fmla="*/ 1128577 h 1216685"/>
                    <a:gd name="connsiteX9" fmla="*/ 838087 w 1453884"/>
                    <a:gd name="connsiteY9" fmla="*/ 1216685 h 1216685"/>
                    <a:gd name="connsiteX10" fmla="*/ 769031 w 1453884"/>
                    <a:gd name="connsiteY10" fmla="*/ 245133 h 1216685"/>
                    <a:gd name="connsiteX11" fmla="*/ 728550 w 1453884"/>
                    <a:gd name="connsiteY11" fmla="*/ 168934 h 1216685"/>
                    <a:gd name="connsiteX12" fmla="*/ 690451 w 1453884"/>
                    <a:gd name="connsiteY12" fmla="*/ 249896 h 1216685"/>
                    <a:gd name="connsiteX13" fmla="*/ 642824 w 1453884"/>
                    <a:gd name="connsiteY13" fmla="*/ 1204778 h 1216685"/>
                    <a:gd name="connsiteX14" fmla="*/ 130856 w 1453884"/>
                    <a:gd name="connsiteY14" fmla="*/ 1150010 h 1216685"/>
                    <a:gd name="connsiteX15" fmla="*/ 725 w 1453884"/>
                    <a:gd name="connsiteY15" fmla="*/ 990243 h 1216685"/>
                    <a:gd name="connsiteX16" fmla="*/ 115025 w 1453884"/>
                    <a:gd name="connsiteY16" fmla="*/ 170824 h 12166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453884" h="1216685">
                      <a:moveTo>
                        <a:pt x="115025" y="170824"/>
                      </a:moveTo>
                      <a:cubicBezTo>
                        <a:pt x="166340" y="87644"/>
                        <a:pt x="394437" y="20694"/>
                        <a:pt x="495186" y="9390"/>
                      </a:cubicBezTo>
                      <a:cubicBezTo>
                        <a:pt x="547239" y="89423"/>
                        <a:pt x="596032" y="166059"/>
                        <a:pt x="647987" y="243680"/>
                      </a:cubicBezTo>
                      <a:cubicBezTo>
                        <a:pt x="695313" y="171635"/>
                        <a:pt x="687310" y="181687"/>
                        <a:pt x="728221" y="123330"/>
                      </a:cubicBezTo>
                      <a:cubicBezTo>
                        <a:pt x="779910" y="194563"/>
                        <a:pt x="766001" y="175517"/>
                        <a:pt x="816169" y="237508"/>
                      </a:cubicBezTo>
                      <a:cubicBezTo>
                        <a:pt x="870966" y="148292"/>
                        <a:pt x="911353" y="83375"/>
                        <a:pt x="964427" y="0"/>
                      </a:cubicBezTo>
                      <a:cubicBezTo>
                        <a:pt x="1114725" y="48255"/>
                        <a:pt x="1298227" y="113044"/>
                        <a:pt x="1341370" y="170824"/>
                      </a:cubicBezTo>
                      <a:lnTo>
                        <a:pt x="1453288" y="1006912"/>
                      </a:lnTo>
                      <a:cubicBezTo>
                        <a:pt x="1457515" y="1075256"/>
                        <a:pt x="1440684" y="1112665"/>
                        <a:pt x="1357201" y="1128577"/>
                      </a:cubicBezTo>
                      <a:cubicBezTo>
                        <a:pt x="1257049" y="1163539"/>
                        <a:pt x="961515" y="1197238"/>
                        <a:pt x="838087" y="1216685"/>
                      </a:cubicBezTo>
                      <a:cubicBezTo>
                        <a:pt x="803957" y="973798"/>
                        <a:pt x="753950" y="364989"/>
                        <a:pt x="769031" y="245133"/>
                      </a:cubicBezTo>
                      <a:cubicBezTo>
                        <a:pt x="746983" y="204562"/>
                        <a:pt x="755140" y="219689"/>
                        <a:pt x="728550" y="168934"/>
                      </a:cubicBezTo>
                      <a:cubicBezTo>
                        <a:pt x="709237" y="207828"/>
                        <a:pt x="708971" y="209063"/>
                        <a:pt x="690451" y="249896"/>
                      </a:cubicBezTo>
                      <a:cubicBezTo>
                        <a:pt x="683308" y="463415"/>
                        <a:pt x="663461" y="896803"/>
                        <a:pt x="642824" y="1204778"/>
                      </a:cubicBezTo>
                      <a:cubicBezTo>
                        <a:pt x="418847" y="1209578"/>
                        <a:pt x="238666" y="1181003"/>
                        <a:pt x="130856" y="1150010"/>
                      </a:cubicBezTo>
                      <a:cubicBezTo>
                        <a:pt x="68429" y="1137235"/>
                        <a:pt x="-8285" y="1093505"/>
                        <a:pt x="725" y="990243"/>
                      </a:cubicBezTo>
                      <a:lnTo>
                        <a:pt x="115025" y="1708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  <p:sp>
              <p:nvSpPr>
                <p:cNvPr id="61" name="Rectangle 93">
                  <a:extLst>
                    <a:ext uri="{FF2B5EF4-FFF2-40B4-BE49-F238E27FC236}">
                      <a16:creationId xmlns:a16="http://schemas.microsoft.com/office/drawing/2014/main" id="{331BB5CC-E444-461D-88E4-8F616B70FF9D}"/>
                    </a:ext>
                  </a:extLst>
                </p:cNvPr>
                <p:cNvSpPr/>
                <p:nvPr/>
              </p:nvSpPr>
              <p:spPr>
                <a:xfrm>
                  <a:off x="4446042" y="2616196"/>
                  <a:ext cx="1165892" cy="1559218"/>
                </a:xfrm>
                <a:custGeom>
                  <a:avLst/>
                  <a:gdLst>
                    <a:gd name="connsiteX0" fmla="*/ 0 w 676276"/>
                    <a:gd name="connsiteY0" fmla="*/ 0 h 583676"/>
                    <a:gd name="connsiteX1" fmla="*/ 676276 w 676276"/>
                    <a:gd name="connsiteY1" fmla="*/ 0 h 583676"/>
                    <a:gd name="connsiteX2" fmla="*/ 676276 w 676276"/>
                    <a:gd name="connsiteY2" fmla="*/ 583676 h 583676"/>
                    <a:gd name="connsiteX3" fmla="*/ 0 w 676276"/>
                    <a:gd name="connsiteY3" fmla="*/ 583676 h 583676"/>
                    <a:gd name="connsiteX4" fmla="*/ 0 w 676276"/>
                    <a:gd name="connsiteY4" fmla="*/ 0 h 583676"/>
                    <a:gd name="connsiteX0" fmla="*/ 0 w 1147764"/>
                    <a:gd name="connsiteY0" fmla="*/ 14288 h 583676"/>
                    <a:gd name="connsiteX1" fmla="*/ 1147764 w 1147764"/>
                    <a:gd name="connsiteY1" fmla="*/ 0 h 583676"/>
                    <a:gd name="connsiteX2" fmla="*/ 1147764 w 1147764"/>
                    <a:gd name="connsiteY2" fmla="*/ 583676 h 583676"/>
                    <a:gd name="connsiteX3" fmla="*/ 471488 w 1147764"/>
                    <a:gd name="connsiteY3" fmla="*/ 583676 h 583676"/>
                    <a:gd name="connsiteX4" fmla="*/ 0 w 1147764"/>
                    <a:gd name="connsiteY4" fmla="*/ 14288 h 583676"/>
                    <a:gd name="connsiteX0" fmla="*/ 38099 w 1185863"/>
                    <a:gd name="connsiteY0" fmla="*/ 376238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38099 w 1185863"/>
                    <a:gd name="connsiteY4" fmla="*/ 376238 h 945626"/>
                    <a:gd name="connsiteX0" fmla="*/ 57149 w 1185863"/>
                    <a:gd name="connsiteY0" fmla="*/ 438151 h 945626"/>
                    <a:gd name="connsiteX1" fmla="*/ 0 w 1185863"/>
                    <a:gd name="connsiteY1" fmla="*/ 0 h 945626"/>
                    <a:gd name="connsiteX2" fmla="*/ 1185863 w 1185863"/>
                    <a:gd name="connsiteY2" fmla="*/ 945626 h 945626"/>
                    <a:gd name="connsiteX3" fmla="*/ 509587 w 1185863"/>
                    <a:gd name="connsiteY3" fmla="*/ 945626 h 945626"/>
                    <a:gd name="connsiteX4" fmla="*/ 57149 w 1185863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28688"/>
                    <a:gd name="connsiteY0" fmla="*/ 438151 h 945626"/>
                    <a:gd name="connsiteX1" fmla="*/ 0 w 928688"/>
                    <a:gd name="connsiteY1" fmla="*/ 0 h 945626"/>
                    <a:gd name="connsiteX2" fmla="*/ 928688 w 928688"/>
                    <a:gd name="connsiteY2" fmla="*/ 421751 h 945626"/>
                    <a:gd name="connsiteX3" fmla="*/ 509587 w 928688"/>
                    <a:gd name="connsiteY3" fmla="*/ 945626 h 945626"/>
                    <a:gd name="connsiteX4" fmla="*/ 57149 w 928688"/>
                    <a:gd name="connsiteY4" fmla="*/ 438151 h 945626"/>
                    <a:gd name="connsiteX0" fmla="*/ 57149 w 952501"/>
                    <a:gd name="connsiteY0" fmla="*/ 438151 h 945626"/>
                    <a:gd name="connsiteX1" fmla="*/ 0 w 952501"/>
                    <a:gd name="connsiteY1" fmla="*/ 0 h 945626"/>
                    <a:gd name="connsiteX2" fmla="*/ 952501 w 952501"/>
                    <a:gd name="connsiteY2" fmla="*/ 412226 h 945626"/>
                    <a:gd name="connsiteX3" fmla="*/ 509587 w 952501"/>
                    <a:gd name="connsiteY3" fmla="*/ 945626 h 945626"/>
                    <a:gd name="connsiteX4" fmla="*/ 57149 w 952501"/>
                    <a:gd name="connsiteY4" fmla="*/ 438151 h 945626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57149 w 952501"/>
                    <a:gd name="connsiteY0" fmla="*/ 438151 h 959914"/>
                    <a:gd name="connsiteX1" fmla="*/ 0 w 952501"/>
                    <a:gd name="connsiteY1" fmla="*/ 0 h 959914"/>
                    <a:gd name="connsiteX2" fmla="*/ 952501 w 952501"/>
                    <a:gd name="connsiteY2" fmla="*/ 412226 h 959914"/>
                    <a:gd name="connsiteX3" fmla="*/ 509587 w 952501"/>
                    <a:gd name="connsiteY3" fmla="*/ 959914 h 959914"/>
                    <a:gd name="connsiteX4" fmla="*/ 57149 w 952501"/>
                    <a:gd name="connsiteY4" fmla="*/ 438151 h 959914"/>
                    <a:gd name="connsiteX0" fmla="*/ 88899 w 984251"/>
                    <a:gd name="connsiteY0" fmla="*/ 406401 h 928164"/>
                    <a:gd name="connsiteX1" fmla="*/ 0 w 984251"/>
                    <a:gd name="connsiteY1" fmla="*/ 0 h 928164"/>
                    <a:gd name="connsiteX2" fmla="*/ 984251 w 984251"/>
                    <a:gd name="connsiteY2" fmla="*/ 380476 h 928164"/>
                    <a:gd name="connsiteX3" fmla="*/ 541337 w 984251"/>
                    <a:gd name="connsiteY3" fmla="*/ 928164 h 928164"/>
                    <a:gd name="connsiteX4" fmla="*/ 88899 w 984251"/>
                    <a:gd name="connsiteY4" fmla="*/ 406401 h 928164"/>
                    <a:gd name="connsiteX0" fmla="*/ 92074 w 987426"/>
                    <a:gd name="connsiteY0" fmla="*/ 444501 h 966264"/>
                    <a:gd name="connsiteX1" fmla="*/ 0 w 987426"/>
                    <a:gd name="connsiteY1" fmla="*/ 0 h 966264"/>
                    <a:gd name="connsiteX2" fmla="*/ 987426 w 987426"/>
                    <a:gd name="connsiteY2" fmla="*/ 418576 h 966264"/>
                    <a:gd name="connsiteX3" fmla="*/ 544512 w 987426"/>
                    <a:gd name="connsiteY3" fmla="*/ 966264 h 966264"/>
                    <a:gd name="connsiteX4" fmla="*/ 92074 w 987426"/>
                    <a:gd name="connsiteY4" fmla="*/ 444501 h 966264"/>
                    <a:gd name="connsiteX0" fmla="*/ 104774 w 1000126"/>
                    <a:gd name="connsiteY0" fmla="*/ 431801 h 953564"/>
                    <a:gd name="connsiteX1" fmla="*/ 0 w 1000126"/>
                    <a:gd name="connsiteY1" fmla="*/ 0 h 953564"/>
                    <a:gd name="connsiteX2" fmla="*/ 1000126 w 1000126"/>
                    <a:gd name="connsiteY2" fmla="*/ 405876 h 953564"/>
                    <a:gd name="connsiteX3" fmla="*/ 557212 w 1000126"/>
                    <a:gd name="connsiteY3" fmla="*/ 953564 h 953564"/>
                    <a:gd name="connsiteX4" fmla="*/ 104774 w 1000126"/>
                    <a:gd name="connsiteY4" fmla="*/ 431801 h 953564"/>
                    <a:gd name="connsiteX0" fmla="*/ 128962 w 1024314"/>
                    <a:gd name="connsiteY0" fmla="*/ 431801 h 953564"/>
                    <a:gd name="connsiteX1" fmla="*/ 24188 w 1024314"/>
                    <a:gd name="connsiteY1" fmla="*/ 0 h 953564"/>
                    <a:gd name="connsiteX2" fmla="*/ 1024314 w 1024314"/>
                    <a:gd name="connsiteY2" fmla="*/ 405876 h 953564"/>
                    <a:gd name="connsiteX3" fmla="*/ 581400 w 1024314"/>
                    <a:gd name="connsiteY3" fmla="*/ 953564 h 953564"/>
                    <a:gd name="connsiteX4" fmla="*/ 128962 w 1024314"/>
                    <a:gd name="connsiteY4" fmla="*/ 431801 h 953564"/>
                    <a:gd name="connsiteX0" fmla="*/ 138991 w 1034343"/>
                    <a:gd name="connsiteY0" fmla="*/ 431801 h 953564"/>
                    <a:gd name="connsiteX1" fmla="*/ 34217 w 1034343"/>
                    <a:gd name="connsiteY1" fmla="*/ 0 h 953564"/>
                    <a:gd name="connsiteX2" fmla="*/ 1034343 w 1034343"/>
                    <a:gd name="connsiteY2" fmla="*/ 405876 h 953564"/>
                    <a:gd name="connsiteX3" fmla="*/ 591429 w 1034343"/>
                    <a:gd name="connsiteY3" fmla="*/ 953564 h 953564"/>
                    <a:gd name="connsiteX4" fmla="*/ 138991 w 1034343"/>
                    <a:gd name="connsiteY4" fmla="*/ 4318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41533 w 1033710"/>
                    <a:gd name="connsiteY0" fmla="*/ 406401 h 953564"/>
                    <a:gd name="connsiteX1" fmla="*/ 33584 w 1033710"/>
                    <a:gd name="connsiteY1" fmla="*/ 0 h 953564"/>
                    <a:gd name="connsiteX2" fmla="*/ 1033710 w 1033710"/>
                    <a:gd name="connsiteY2" fmla="*/ 405876 h 953564"/>
                    <a:gd name="connsiteX3" fmla="*/ 590796 w 1033710"/>
                    <a:gd name="connsiteY3" fmla="*/ 953564 h 953564"/>
                    <a:gd name="connsiteX4" fmla="*/ 141533 w 1033710"/>
                    <a:gd name="connsiteY4" fmla="*/ 406401 h 953564"/>
                    <a:gd name="connsiteX0" fmla="*/ 131495 w 1023672"/>
                    <a:gd name="connsiteY0" fmla="*/ 406401 h 953564"/>
                    <a:gd name="connsiteX1" fmla="*/ 36246 w 1023672"/>
                    <a:gd name="connsiteY1" fmla="*/ 0 h 953564"/>
                    <a:gd name="connsiteX2" fmla="*/ 1023672 w 1023672"/>
                    <a:gd name="connsiteY2" fmla="*/ 405876 h 953564"/>
                    <a:gd name="connsiteX3" fmla="*/ 580758 w 1023672"/>
                    <a:gd name="connsiteY3" fmla="*/ 953564 h 953564"/>
                    <a:gd name="connsiteX4" fmla="*/ 131495 w 1023672"/>
                    <a:gd name="connsiteY4" fmla="*/ 406401 h 953564"/>
                    <a:gd name="connsiteX0" fmla="*/ 137112 w 1029289"/>
                    <a:gd name="connsiteY0" fmla="*/ 406401 h 953564"/>
                    <a:gd name="connsiteX1" fmla="*/ 41863 w 1029289"/>
                    <a:gd name="connsiteY1" fmla="*/ 0 h 953564"/>
                    <a:gd name="connsiteX2" fmla="*/ 1029289 w 1029289"/>
                    <a:gd name="connsiteY2" fmla="*/ 405876 h 953564"/>
                    <a:gd name="connsiteX3" fmla="*/ 586375 w 1029289"/>
                    <a:gd name="connsiteY3" fmla="*/ 953564 h 953564"/>
                    <a:gd name="connsiteX4" fmla="*/ 137112 w 1029289"/>
                    <a:gd name="connsiteY4" fmla="*/ 406401 h 953564"/>
                    <a:gd name="connsiteX0" fmla="*/ 137112 w 1038814"/>
                    <a:gd name="connsiteY0" fmla="*/ 406401 h 953564"/>
                    <a:gd name="connsiteX1" fmla="*/ 41863 w 1038814"/>
                    <a:gd name="connsiteY1" fmla="*/ 0 h 953564"/>
                    <a:gd name="connsiteX2" fmla="*/ 1038814 w 1038814"/>
                    <a:gd name="connsiteY2" fmla="*/ 399526 h 953564"/>
                    <a:gd name="connsiteX3" fmla="*/ 586375 w 1038814"/>
                    <a:gd name="connsiteY3" fmla="*/ 953564 h 953564"/>
                    <a:gd name="connsiteX4" fmla="*/ 137112 w 1038814"/>
                    <a:gd name="connsiteY4" fmla="*/ 406401 h 953564"/>
                    <a:gd name="connsiteX0" fmla="*/ 137112 w 1101380"/>
                    <a:gd name="connsiteY0" fmla="*/ 415417 h 962580"/>
                    <a:gd name="connsiteX1" fmla="*/ 41863 w 1101380"/>
                    <a:gd name="connsiteY1" fmla="*/ 9016 h 962580"/>
                    <a:gd name="connsiteX2" fmla="*/ 1101380 w 1101380"/>
                    <a:gd name="connsiteY2" fmla="*/ 38363 h 962580"/>
                    <a:gd name="connsiteX3" fmla="*/ 1038814 w 1101380"/>
                    <a:gd name="connsiteY3" fmla="*/ 408542 h 962580"/>
                    <a:gd name="connsiteX4" fmla="*/ 586375 w 1101380"/>
                    <a:gd name="connsiteY4" fmla="*/ 962580 h 962580"/>
                    <a:gd name="connsiteX5" fmla="*/ 137112 w 1101380"/>
                    <a:gd name="connsiteY5" fmla="*/ 415417 h 962580"/>
                    <a:gd name="connsiteX0" fmla="*/ 137112 w 1138004"/>
                    <a:gd name="connsiteY0" fmla="*/ 415417 h 962580"/>
                    <a:gd name="connsiteX1" fmla="*/ 41863 w 1138004"/>
                    <a:gd name="connsiteY1" fmla="*/ 9016 h 962580"/>
                    <a:gd name="connsiteX2" fmla="*/ 1101380 w 1138004"/>
                    <a:gd name="connsiteY2" fmla="*/ 38363 h 962580"/>
                    <a:gd name="connsiteX3" fmla="*/ 1038814 w 1138004"/>
                    <a:gd name="connsiteY3" fmla="*/ 408542 h 962580"/>
                    <a:gd name="connsiteX4" fmla="*/ 586375 w 1138004"/>
                    <a:gd name="connsiteY4" fmla="*/ 962580 h 962580"/>
                    <a:gd name="connsiteX5" fmla="*/ 137112 w 1138004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54972"/>
                    <a:gd name="connsiteY0" fmla="*/ 415417 h 962580"/>
                    <a:gd name="connsiteX1" fmla="*/ 41863 w 1154972"/>
                    <a:gd name="connsiteY1" fmla="*/ 9016 h 962580"/>
                    <a:gd name="connsiteX2" fmla="*/ 1101380 w 1154972"/>
                    <a:gd name="connsiteY2" fmla="*/ 38363 h 962580"/>
                    <a:gd name="connsiteX3" fmla="*/ 1038814 w 1154972"/>
                    <a:gd name="connsiteY3" fmla="*/ 408542 h 962580"/>
                    <a:gd name="connsiteX4" fmla="*/ 586375 w 1154972"/>
                    <a:gd name="connsiteY4" fmla="*/ 962580 h 962580"/>
                    <a:gd name="connsiteX5" fmla="*/ 137112 w 1154972"/>
                    <a:gd name="connsiteY5" fmla="*/ 415417 h 962580"/>
                    <a:gd name="connsiteX0" fmla="*/ 137112 w 1168722"/>
                    <a:gd name="connsiteY0" fmla="*/ 426386 h 973549"/>
                    <a:gd name="connsiteX1" fmla="*/ 41863 w 1168722"/>
                    <a:gd name="connsiteY1" fmla="*/ 19985 h 973549"/>
                    <a:gd name="connsiteX2" fmla="*/ 1120430 w 1168722"/>
                    <a:gd name="connsiteY2" fmla="*/ 36632 h 973549"/>
                    <a:gd name="connsiteX3" fmla="*/ 1038814 w 1168722"/>
                    <a:gd name="connsiteY3" fmla="*/ 419511 h 973549"/>
                    <a:gd name="connsiteX4" fmla="*/ 586375 w 1168722"/>
                    <a:gd name="connsiteY4" fmla="*/ 973549 h 973549"/>
                    <a:gd name="connsiteX5" fmla="*/ 137112 w 1168722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6386 h 973549"/>
                    <a:gd name="connsiteX1" fmla="*/ 41863 w 1150379"/>
                    <a:gd name="connsiteY1" fmla="*/ 19985 h 973549"/>
                    <a:gd name="connsiteX2" fmla="*/ 1120430 w 1150379"/>
                    <a:gd name="connsiteY2" fmla="*/ 36632 h 973549"/>
                    <a:gd name="connsiteX3" fmla="*/ 1038814 w 1150379"/>
                    <a:gd name="connsiteY3" fmla="*/ 419511 h 973549"/>
                    <a:gd name="connsiteX4" fmla="*/ 586375 w 1150379"/>
                    <a:gd name="connsiteY4" fmla="*/ 973549 h 973549"/>
                    <a:gd name="connsiteX5" fmla="*/ 137112 w 1150379"/>
                    <a:gd name="connsiteY5" fmla="*/ 426386 h 973549"/>
                    <a:gd name="connsiteX0" fmla="*/ 137112 w 1150379"/>
                    <a:gd name="connsiteY0" fmla="*/ 424813 h 971976"/>
                    <a:gd name="connsiteX1" fmla="*/ 41863 w 1150379"/>
                    <a:gd name="connsiteY1" fmla="*/ 31112 h 971976"/>
                    <a:gd name="connsiteX2" fmla="*/ 1120430 w 1150379"/>
                    <a:gd name="connsiteY2" fmla="*/ 35059 h 971976"/>
                    <a:gd name="connsiteX3" fmla="*/ 1038814 w 1150379"/>
                    <a:gd name="connsiteY3" fmla="*/ 417938 h 971976"/>
                    <a:gd name="connsiteX4" fmla="*/ 586375 w 1150379"/>
                    <a:gd name="connsiteY4" fmla="*/ 971976 h 971976"/>
                    <a:gd name="connsiteX5" fmla="*/ 137112 w 1150379"/>
                    <a:gd name="connsiteY5" fmla="*/ 424813 h 971976"/>
                    <a:gd name="connsiteX0" fmla="*/ 137112 w 1150379"/>
                    <a:gd name="connsiteY0" fmla="*/ 1015229 h 1562392"/>
                    <a:gd name="connsiteX1" fmla="*/ 41863 w 1150379"/>
                    <a:gd name="connsiteY1" fmla="*/ 621528 h 1562392"/>
                    <a:gd name="connsiteX2" fmla="*/ 587031 w 1150379"/>
                    <a:gd name="connsiteY2" fmla="*/ 0 h 1562392"/>
                    <a:gd name="connsiteX3" fmla="*/ 1120430 w 1150379"/>
                    <a:gd name="connsiteY3" fmla="*/ 625475 h 1562392"/>
                    <a:gd name="connsiteX4" fmla="*/ 1038814 w 1150379"/>
                    <a:gd name="connsiteY4" fmla="*/ 1008354 h 1562392"/>
                    <a:gd name="connsiteX5" fmla="*/ 586375 w 1150379"/>
                    <a:gd name="connsiteY5" fmla="*/ 1562392 h 1562392"/>
                    <a:gd name="connsiteX6" fmla="*/ 137112 w 1150379"/>
                    <a:gd name="connsiteY6" fmla="*/ 1015229 h 1562392"/>
                    <a:gd name="connsiteX0" fmla="*/ 134670 w 1147937"/>
                    <a:gd name="connsiteY0" fmla="*/ 1015229 h 1562392"/>
                    <a:gd name="connsiteX1" fmla="*/ 42596 w 1147937"/>
                    <a:gd name="connsiteY1" fmla="*/ 637403 h 1562392"/>
                    <a:gd name="connsiteX2" fmla="*/ 584589 w 1147937"/>
                    <a:gd name="connsiteY2" fmla="*/ 0 h 1562392"/>
                    <a:gd name="connsiteX3" fmla="*/ 1117988 w 1147937"/>
                    <a:gd name="connsiteY3" fmla="*/ 625475 h 1562392"/>
                    <a:gd name="connsiteX4" fmla="*/ 1036372 w 1147937"/>
                    <a:gd name="connsiteY4" fmla="*/ 1008354 h 1562392"/>
                    <a:gd name="connsiteX5" fmla="*/ 583933 w 1147937"/>
                    <a:gd name="connsiteY5" fmla="*/ 1562392 h 1562392"/>
                    <a:gd name="connsiteX6" fmla="*/ 134670 w 1147937"/>
                    <a:gd name="connsiteY6" fmla="*/ 1015229 h 1562392"/>
                    <a:gd name="connsiteX0" fmla="*/ 144566 w 1157833"/>
                    <a:gd name="connsiteY0" fmla="*/ 1015229 h 1562392"/>
                    <a:gd name="connsiteX1" fmla="*/ 39792 w 1157833"/>
                    <a:gd name="connsiteY1" fmla="*/ 640578 h 1562392"/>
                    <a:gd name="connsiteX2" fmla="*/ 594485 w 1157833"/>
                    <a:gd name="connsiteY2" fmla="*/ 0 h 1562392"/>
                    <a:gd name="connsiteX3" fmla="*/ 1127884 w 1157833"/>
                    <a:gd name="connsiteY3" fmla="*/ 625475 h 1562392"/>
                    <a:gd name="connsiteX4" fmla="*/ 1046268 w 1157833"/>
                    <a:gd name="connsiteY4" fmla="*/ 1008354 h 1562392"/>
                    <a:gd name="connsiteX5" fmla="*/ 593829 w 1157833"/>
                    <a:gd name="connsiteY5" fmla="*/ 1562392 h 1562392"/>
                    <a:gd name="connsiteX6" fmla="*/ 144566 w 1157833"/>
                    <a:gd name="connsiteY6" fmla="*/ 1015229 h 1562392"/>
                    <a:gd name="connsiteX0" fmla="*/ 137601 w 1150868"/>
                    <a:gd name="connsiteY0" fmla="*/ 1015229 h 1562392"/>
                    <a:gd name="connsiteX1" fmla="*/ 32827 w 1150868"/>
                    <a:gd name="connsiteY1" fmla="*/ 640578 h 1562392"/>
                    <a:gd name="connsiteX2" fmla="*/ 587520 w 1150868"/>
                    <a:gd name="connsiteY2" fmla="*/ 0 h 1562392"/>
                    <a:gd name="connsiteX3" fmla="*/ 1120919 w 1150868"/>
                    <a:gd name="connsiteY3" fmla="*/ 625475 h 1562392"/>
                    <a:gd name="connsiteX4" fmla="*/ 1039303 w 1150868"/>
                    <a:gd name="connsiteY4" fmla="*/ 1008354 h 1562392"/>
                    <a:gd name="connsiteX5" fmla="*/ 586864 w 1150868"/>
                    <a:gd name="connsiteY5" fmla="*/ 1562392 h 1562392"/>
                    <a:gd name="connsiteX6" fmla="*/ 137601 w 1150868"/>
                    <a:gd name="connsiteY6" fmla="*/ 1015229 h 1562392"/>
                    <a:gd name="connsiteX0" fmla="*/ 137601 w 1150868"/>
                    <a:gd name="connsiteY0" fmla="*/ 1015230 h 1562393"/>
                    <a:gd name="connsiteX1" fmla="*/ 32827 w 1150868"/>
                    <a:gd name="connsiteY1" fmla="*/ 640579 h 1562393"/>
                    <a:gd name="connsiteX2" fmla="*/ 587520 w 1150868"/>
                    <a:gd name="connsiteY2" fmla="*/ 1 h 1562393"/>
                    <a:gd name="connsiteX3" fmla="*/ 1120919 w 1150868"/>
                    <a:gd name="connsiteY3" fmla="*/ 625476 h 1562393"/>
                    <a:gd name="connsiteX4" fmla="*/ 1039303 w 1150868"/>
                    <a:gd name="connsiteY4" fmla="*/ 1008355 h 1562393"/>
                    <a:gd name="connsiteX5" fmla="*/ 586864 w 1150868"/>
                    <a:gd name="connsiteY5" fmla="*/ 1562393 h 1562393"/>
                    <a:gd name="connsiteX6" fmla="*/ 137601 w 1150868"/>
                    <a:gd name="connsiteY6" fmla="*/ 1015230 h 1562393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15233 h 1562396"/>
                    <a:gd name="connsiteX1" fmla="*/ 32827 w 1150868"/>
                    <a:gd name="connsiteY1" fmla="*/ 640582 h 1562396"/>
                    <a:gd name="connsiteX2" fmla="*/ 587520 w 1150868"/>
                    <a:gd name="connsiteY2" fmla="*/ 4 h 1562396"/>
                    <a:gd name="connsiteX3" fmla="*/ 1120919 w 1150868"/>
                    <a:gd name="connsiteY3" fmla="*/ 625479 h 1562396"/>
                    <a:gd name="connsiteX4" fmla="*/ 1039303 w 1150868"/>
                    <a:gd name="connsiteY4" fmla="*/ 1008358 h 1562396"/>
                    <a:gd name="connsiteX5" fmla="*/ 586864 w 1150868"/>
                    <a:gd name="connsiteY5" fmla="*/ 1562396 h 1562396"/>
                    <a:gd name="connsiteX6" fmla="*/ 137601 w 1150868"/>
                    <a:gd name="connsiteY6" fmla="*/ 1015233 h 1562396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1031107 h 1578270"/>
                    <a:gd name="connsiteX1" fmla="*/ 32827 w 1150868"/>
                    <a:gd name="connsiteY1" fmla="*/ 656456 h 1578270"/>
                    <a:gd name="connsiteX2" fmla="*/ 587520 w 1150868"/>
                    <a:gd name="connsiteY2" fmla="*/ 3 h 1578270"/>
                    <a:gd name="connsiteX3" fmla="*/ 1120919 w 1150868"/>
                    <a:gd name="connsiteY3" fmla="*/ 641353 h 1578270"/>
                    <a:gd name="connsiteX4" fmla="*/ 1039303 w 1150868"/>
                    <a:gd name="connsiteY4" fmla="*/ 1024232 h 1578270"/>
                    <a:gd name="connsiteX5" fmla="*/ 586864 w 1150868"/>
                    <a:gd name="connsiteY5" fmla="*/ 1578270 h 1578270"/>
                    <a:gd name="connsiteX6" fmla="*/ 137601 w 1150868"/>
                    <a:gd name="connsiteY6" fmla="*/ 1031107 h 1578270"/>
                    <a:gd name="connsiteX0" fmla="*/ 137601 w 1150868"/>
                    <a:gd name="connsiteY0" fmla="*/ 970790 h 1517953"/>
                    <a:gd name="connsiteX1" fmla="*/ 32827 w 1150868"/>
                    <a:gd name="connsiteY1" fmla="*/ 596139 h 1517953"/>
                    <a:gd name="connsiteX2" fmla="*/ 600220 w 1150868"/>
                    <a:gd name="connsiteY2" fmla="*/ 11 h 1517953"/>
                    <a:gd name="connsiteX3" fmla="*/ 1120919 w 1150868"/>
                    <a:gd name="connsiteY3" fmla="*/ 581036 h 1517953"/>
                    <a:gd name="connsiteX4" fmla="*/ 1039303 w 1150868"/>
                    <a:gd name="connsiteY4" fmla="*/ 963915 h 1517953"/>
                    <a:gd name="connsiteX5" fmla="*/ 586864 w 1150868"/>
                    <a:gd name="connsiteY5" fmla="*/ 1517953 h 1517953"/>
                    <a:gd name="connsiteX6" fmla="*/ 137601 w 1150868"/>
                    <a:gd name="connsiteY6" fmla="*/ 970790 h 1517953"/>
                    <a:gd name="connsiteX0" fmla="*/ 137601 w 1150868"/>
                    <a:gd name="connsiteY0" fmla="*/ 1040632 h 1587795"/>
                    <a:gd name="connsiteX1" fmla="*/ 32827 w 1150868"/>
                    <a:gd name="connsiteY1" fmla="*/ 665981 h 1587795"/>
                    <a:gd name="connsiteX2" fmla="*/ 587520 w 1150868"/>
                    <a:gd name="connsiteY2" fmla="*/ 3 h 1587795"/>
                    <a:gd name="connsiteX3" fmla="*/ 1120919 w 1150868"/>
                    <a:gd name="connsiteY3" fmla="*/ 650878 h 1587795"/>
                    <a:gd name="connsiteX4" fmla="*/ 1039303 w 1150868"/>
                    <a:gd name="connsiteY4" fmla="*/ 1033757 h 1587795"/>
                    <a:gd name="connsiteX5" fmla="*/ 586864 w 1150868"/>
                    <a:gd name="connsiteY5" fmla="*/ 1587795 h 1587795"/>
                    <a:gd name="connsiteX6" fmla="*/ 137601 w 1150868"/>
                    <a:gd name="connsiteY6" fmla="*/ 1040632 h 1587795"/>
                    <a:gd name="connsiteX0" fmla="*/ 137601 w 1163567"/>
                    <a:gd name="connsiteY0" fmla="*/ 1040632 h 1587795"/>
                    <a:gd name="connsiteX1" fmla="*/ 32827 w 1163567"/>
                    <a:gd name="connsiteY1" fmla="*/ 665981 h 1587795"/>
                    <a:gd name="connsiteX2" fmla="*/ 587520 w 1163567"/>
                    <a:gd name="connsiteY2" fmla="*/ 3 h 1587795"/>
                    <a:gd name="connsiteX3" fmla="*/ 1120919 w 1163567"/>
                    <a:gd name="connsiteY3" fmla="*/ 650878 h 1587795"/>
                    <a:gd name="connsiteX4" fmla="*/ 1039303 w 1163567"/>
                    <a:gd name="connsiteY4" fmla="*/ 1033757 h 1587795"/>
                    <a:gd name="connsiteX5" fmla="*/ 586864 w 1163567"/>
                    <a:gd name="connsiteY5" fmla="*/ 1587795 h 1587795"/>
                    <a:gd name="connsiteX6" fmla="*/ 137601 w 1163567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6275"/>
                    <a:gd name="connsiteY0" fmla="*/ 1040632 h 1587795"/>
                    <a:gd name="connsiteX1" fmla="*/ 32827 w 1166275"/>
                    <a:gd name="connsiteY1" fmla="*/ 665981 h 1587795"/>
                    <a:gd name="connsiteX2" fmla="*/ 587520 w 1166275"/>
                    <a:gd name="connsiteY2" fmla="*/ 3 h 1587795"/>
                    <a:gd name="connsiteX3" fmla="*/ 1120919 w 1166275"/>
                    <a:gd name="connsiteY3" fmla="*/ 650878 h 1587795"/>
                    <a:gd name="connsiteX4" fmla="*/ 1039303 w 1166275"/>
                    <a:gd name="connsiteY4" fmla="*/ 1033757 h 1587795"/>
                    <a:gd name="connsiteX5" fmla="*/ 586864 w 1166275"/>
                    <a:gd name="connsiteY5" fmla="*/ 1587795 h 1587795"/>
                    <a:gd name="connsiteX6" fmla="*/ 137601 w 1166275"/>
                    <a:gd name="connsiteY6" fmla="*/ 1040632 h 1587795"/>
                    <a:gd name="connsiteX0" fmla="*/ 137601 w 1167998"/>
                    <a:gd name="connsiteY0" fmla="*/ 1040632 h 1587795"/>
                    <a:gd name="connsiteX1" fmla="*/ 32827 w 1167998"/>
                    <a:gd name="connsiteY1" fmla="*/ 665981 h 1587795"/>
                    <a:gd name="connsiteX2" fmla="*/ 587520 w 1167998"/>
                    <a:gd name="connsiteY2" fmla="*/ 3 h 1587795"/>
                    <a:gd name="connsiteX3" fmla="*/ 1120919 w 1167998"/>
                    <a:gd name="connsiteY3" fmla="*/ 650878 h 1587795"/>
                    <a:gd name="connsiteX4" fmla="*/ 1039303 w 1167998"/>
                    <a:gd name="connsiteY4" fmla="*/ 1033757 h 1587795"/>
                    <a:gd name="connsiteX5" fmla="*/ 586864 w 1167998"/>
                    <a:gd name="connsiteY5" fmla="*/ 1587795 h 1587795"/>
                    <a:gd name="connsiteX6" fmla="*/ 137601 w 1167998"/>
                    <a:gd name="connsiteY6" fmla="*/ 1040632 h 1587795"/>
                    <a:gd name="connsiteX0" fmla="*/ 137601 w 1165890"/>
                    <a:gd name="connsiteY0" fmla="*/ 1040632 h 1587795"/>
                    <a:gd name="connsiteX1" fmla="*/ 32827 w 1165890"/>
                    <a:gd name="connsiteY1" fmla="*/ 665981 h 1587795"/>
                    <a:gd name="connsiteX2" fmla="*/ 587520 w 1165890"/>
                    <a:gd name="connsiteY2" fmla="*/ 3 h 1587795"/>
                    <a:gd name="connsiteX3" fmla="*/ 1120919 w 1165890"/>
                    <a:gd name="connsiteY3" fmla="*/ 650878 h 1587795"/>
                    <a:gd name="connsiteX4" fmla="*/ 1039303 w 1165890"/>
                    <a:gd name="connsiteY4" fmla="*/ 1033757 h 1587795"/>
                    <a:gd name="connsiteX5" fmla="*/ 586864 w 1165890"/>
                    <a:gd name="connsiteY5" fmla="*/ 1587795 h 1587795"/>
                    <a:gd name="connsiteX6" fmla="*/ 137601 w 1165890"/>
                    <a:gd name="connsiteY6" fmla="*/ 1040632 h 1587795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  <a:gd name="connsiteX0" fmla="*/ 137601 w 1165890"/>
                    <a:gd name="connsiteY0" fmla="*/ 1040632 h 1559220"/>
                    <a:gd name="connsiteX1" fmla="*/ 32827 w 1165890"/>
                    <a:gd name="connsiteY1" fmla="*/ 665981 h 1559220"/>
                    <a:gd name="connsiteX2" fmla="*/ 587520 w 1165890"/>
                    <a:gd name="connsiteY2" fmla="*/ 3 h 1559220"/>
                    <a:gd name="connsiteX3" fmla="*/ 1120919 w 1165890"/>
                    <a:gd name="connsiteY3" fmla="*/ 650878 h 1559220"/>
                    <a:gd name="connsiteX4" fmla="*/ 1039303 w 1165890"/>
                    <a:gd name="connsiteY4" fmla="*/ 1033757 h 1559220"/>
                    <a:gd name="connsiteX5" fmla="*/ 586864 w 1165890"/>
                    <a:gd name="connsiteY5" fmla="*/ 1559220 h 1559220"/>
                    <a:gd name="connsiteX6" fmla="*/ 137601 w 1165890"/>
                    <a:gd name="connsiteY6" fmla="*/ 1040632 h 1559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5890" h="1559220">
                      <a:moveTo>
                        <a:pt x="137601" y="1040632"/>
                      </a:moveTo>
                      <a:cubicBezTo>
                        <a:pt x="29651" y="1014173"/>
                        <a:pt x="-46548" y="813090"/>
                        <a:pt x="32827" y="665981"/>
                      </a:cubicBezTo>
                      <a:cubicBezTo>
                        <a:pt x="16268" y="96726"/>
                        <a:pt x="407759" y="-655"/>
                        <a:pt x="587520" y="3"/>
                      </a:cubicBezTo>
                      <a:cubicBezTo>
                        <a:pt x="767281" y="661"/>
                        <a:pt x="1141401" y="95469"/>
                        <a:pt x="1120919" y="650878"/>
                      </a:cubicBezTo>
                      <a:cubicBezTo>
                        <a:pt x="1206427" y="725058"/>
                        <a:pt x="1164933" y="998471"/>
                        <a:pt x="1039303" y="1033757"/>
                      </a:cubicBezTo>
                      <a:cubicBezTo>
                        <a:pt x="994853" y="1236957"/>
                        <a:pt x="898149" y="1546588"/>
                        <a:pt x="586864" y="1559220"/>
                      </a:cubicBezTo>
                      <a:cubicBezTo>
                        <a:pt x="264458" y="1525853"/>
                        <a:pt x="264602" y="1295516"/>
                        <a:pt x="137601" y="104063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>
                      <a:solidFill>
                        <a:prstClr val="white"/>
                      </a:solidFill>
                    </a:rPr>
                    <a:t>   </a:t>
                  </a:r>
                </a:p>
              </p:txBody>
            </p:sp>
          </p:grp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CB6B89A-0688-4401-9722-1E57A3509DF5}"/>
                </a:ext>
              </a:extLst>
            </p:cNvPr>
            <p:cNvSpPr txBox="1"/>
            <p:nvPr/>
          </p:nvSpPr>
          <p:spPr>
            <a:xfrm>
              <a:off x="1149661" y="5300087"/>
              <a:ext cx="202811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400">
                  <a:ea typeface="Verdana" panose="020B0604030504040204" pitchFamily="34" charset="0"/>
                </a:rPr>
                <a:t>Funding results in $3K arrears balance or less for recipients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6BC86ECD-D103-4ADE-9A98-44B5EAB55D77}"/>
                </a:ext>
              </a:extLst>
            </p:cNvPr>
            <p:cNvSpPr txBox="1"/>
            <p:nvPr/>
          </p:nvSpPr>
          <p:spPr>
            <a:xfrm>
              <a:off x="4039284" y="5300087"/>
              <a:ext cx="210570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400">
                  <a:solidFill>
                    <a:srgbClr val="000000"/>
                  </a:solidFill>
                  <a:ea typeface="Verdana" panose="020B0604030504040204" pitchFamily="34" charset="0"/>
                </a:rPr>
                <a:t>LIHEAP Direct Support recipients with remaining balances over $3K</a:t>
              </a:r>
              <a:endParaRPr lang="en-US" sz="1400">
                <a:ea typeface="Verdana" panose="020B0604030504040204" pitchFamily="34" charset="0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F7A4869E-106E-4A73-AB96-5D6103905EF5}"/>
                </a:ext>
              </a:extLst>
            </p:cNvPr>
            <p:cNvSpPr txBox="1"/>
            <p:nvPr/>
          </p:nvSpPr>
          <p:spPr>
            <a:xfrm>
              <a:off x="6931352" y="5299566"/>
              <a:ext cx="185949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400">
                  <a:ea typeface="Verdana" panose="020B0604030504040204" pitchFamily="34" charset="0"/>
                </a:rPr>
                <a:t>DTE direct funding is applicable for recipi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8857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Hdg1PD696408xN4LeA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cbJiJ3jixOtgcbrdonAg"/>
</p:tagLst>
</file>

<file path=ppt/theme/theme1.xml><?xml version="1.0" encoding="utf-8"?>
<a:theme xmlns:a="http://schemas.openxmlformats.org/drawingml/2006/main" name="1_Office Theme">
  <a:themeElements>
    <a:clrScheme name="DTE Presenation Theme">
      <a:dk1>
        <a:srgbClr val="000000"/>
      </a:dk1>
      <a:lt1>
        <a:srgbClr val="FFFFFF"/>
      </a:lt1>
      <a:dk2>
        <a:srgbClr val="1E3575"/>
      </a:dk2>
      <a:lt2>
        <a:srgbClr val="D9D9D6"/>
      </a:lt2>
      <a:accent1>
        <a:srgbClr val="1E3575"/>
      </a:accent1>
      <a:accent2>
        <a:srgbClr val="59BEC9"/>
      </a:accent2>
      <a:accent3>
        <a:srgbClr val="007C91"/>
      </a:accent3>
      <a:accent4>
        <a:srgbClr val="0071CE"/>
      </a:accent4>
      <a:accent5>
        <a:srgbClr val="D2D755"/>
      </a:accent5>
      <a:accent6>
        <a:srgbClr val="8FAD15"/>
      </a:accent6>
      <a:hlink>
        <a:srgbClr val="0072CE"/>
      </a:hlink>
      <a:folHlink>
        <a:srgbClr val="523178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2beb41ca-1542-4eb2-9f6f-92a9dc7f0194" ContentTypeId="0x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4AF15C788E4842B387C5CEE891FD9F" ma:contentTypeVersion="12" ma:contentTypeDescription="Create a new document." ma:contentTypeScope="" ma:versionID="436db83168ec5d575a169c73fd233dcf">
  <xsd:schema xmlns:xsd="http://www.w3.org/2001/XMLSchema" xmlns:xs="http://www.w3.org/2001/XMLSchema" xmlns:p="http://schemas.microsoft.com/office/2006/metadata/properties" xmlns:ns2="1d5f55a5-3b98-4d42-a0b6-2259c57a5379" xmlns:ns3="13102e63-8df2-463d-b456-b153fd94878f" xmlns:ns4="8b6554e0-6c02-4d94-8886-01899cf0d43b" xmlns:ns5="5dc8fafb-a5e2-4763-9fa1-af6e40f7ed85" targetNamespace="http://schemas.microsoft.com/office/2006/metadata/properties" ma:root="true" ma:fieldsID="9e05423c2dc04c25b05e654ac0856cdc" ns2:_="" ns3:_="" ns4:_="" ns5:_="">
    <xsd:import namespace="1d5f55a5-3b98-4d42-a0b6-2259c57a5379"/>
    <xsd:import namespace="13102e63-8df2-463d-b456-b153fd94878f"/>
    <xsd:import namespace="8b6554e0-6c02-4d94-8886-01899cf0d43b"/>
    <xsd:import namespace="5dc8fafb-a5e2-4763-9fa1-af6e40f7ed85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3:b02ef9c9ba2b47a7a966ec85f27fc64b" minOccurs="0"/>
                <xsd:element ref="ns3:hd313e3cdfe647b3a6b09e2e2bc5fac2" minOccurs="0"/>
                <xsd:element ref="ns3:n098ebb87c784f83a42ec9af1bd9cecf" minOccurs="0"/>
                <xsd:element ref="ns3:ac28b01270a741659ca1702f61e5905d" minOccurs="0"/>
                <xsd:element ref="ns2:TaxKeywordTaxHTField" minOccurs="0"/>
                <xsd:element ref="ns4:b0caa8eb156f4565967e6e39d216d06b" minOccurs="0"/>
                <xsd:element ref="ns5:MediaServiceMetadata" minOccurs="0"/>
                <xsd:element ref="ns5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5f55a5-3b98-4d42-a0b6-2259c57a5379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482ed69c-126f-404b-a90e-219fe0e278fa}" ma:internalName="TaxCatchAll" ma:showField="CatchAllData" ma:web="1d5f55a5-3b98-4d42-a0b6-2259c57a53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482ed69c-126f-404b-a90e-219fe0e278fa}" ma:internalName="TaxCatchAllLabel" ma:readOnly="true" ma:showField="CatchAllDataLabel" ma:web="1d5f55a5-3b98-4d42-a0b6-2259c57a53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4" nillable="true" ma:displayName="TaxKeywordTaxHTField" ma:hidden="true" ma:internalName="TaxKeywordTaxHTField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102e63-8df2-463d-b456-b153fd94878f" elementFormDefault="qualified">
    <xsd:import namespace="http://schemas.microsoft.com/office/2006/documentManagement/types"/>
    <xsd:import namespace="http://schemas.microsoft.com/office/infopath/2007/PartnerControls"/>
    <xsd:element name="b02ef9c9ba2b47a7a966ec85f27fc64b" ma:index="10" nillable="true" ma:displayName="Team_0" ma:hidden="true" ma:internalName="b02ef9c9ba2b47a7a966ec85f27fc64b">
      <xsd:simpleType>
        <xsd:restriction base="dms:Note"/>
      </xsd:simpleType>
    </xsd:element>
    <xsd:element name="hd313e3cdfe647b3a6b09e2e2bc5fac2" ma:index="11" nillable="true" ma:displayName="Team Type_0" ma:hidden="true" ma:internalName="hd313e3cdfe647b3a6b09e2e2bc5fac2">
      <xsd:simpleType>
        <xsd:restriction base="dms:Note"/>
      </xsd:simpleType>
    </xsd:element>
    <xsd:element name="n098ebb87c784f83a42ec9af1bd9cecf" ma:index="12" nillable="true" ma:displayName="Topic_0" ma:hidden="true" ma:internalName="n098ebb87c784f83a42ec9af1bd9cecf">
      <xsd:simpleType>
        <xsd:restriction base="dms:Note"/>
      </xsd:simpleType>
    </xsd:element>
    <xsd:element name="ac28b01270a741659ca1702f61e5905d" ma:index="13" nillable="true" ma:displayName="Resource Type_0" ma:hidden="true" ma:internalName="ac28b01270a741659ca1702f61e5905d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6554e0-6c02-4d94-8886-01899cf0d43b" elementFormDefault="qualified">
    <xsd:import namespace="http://schemas.microsoft.com/office/2006/documentManagement/types"/>
    <xsd:import namespace="http://schemas.microsoft.com/office/infopath/2007/PartnerControls"/>
    <xsd:element name="b0caa8eb156f4565967e6e39d216d06b" ma:index="15" nillable="true" ma:displayName="Languages_0" ma:hidden="true" ma:internalName="b0caa8eb156f4565967e6e39d216d06b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c8fafb-a5e2-4763-9fa1-af6e40f7ed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098ebb87c784f83a42ec9af1bd9cecf xmlns="13102e63-8df2-463d-b456-b153fd94878f" xsi:nil="true"/>
    <ac28b01270a741659ca1702f61e5905d xmlns="13102e63-8df2-463d-b456-b153fd94878f" xsi:nil="true"/>
    <b0caa8eb156f4565967e6e39d216d06b xmlns="8b6554e0-6c02-4d94-8886-01899cf0d43b" xsi:nil="true"/>
    <hd313e3cdfe647b3a6b09e2e2bc5fac2 xmlns="13102e63-8df2-463d-b456-b153fd94878f" xsi:nil="true"/>
    <TaxKeywordTaxHTField xmlns="1d5f55a5-3b98-4d42-a0b6-2259c57a5379" xsi:nil="true"/>
    <b02ef9c9ba2b47a7a966ec85f27fc64b xmlns="13102e63-8df2-463d-b456-b153fd94878f" xsi:nil="true"/>
    <TaxCatchAll xmlns="1d5f55a5-3b98-4d42-a0b6-2259c57a5379"/>
  </documentManagement>
</p:properties>
</file>

<file path=customXml/itemProps1.xml><?xml version="1.0" encoding="utf-8"?>
<ds:datastoreItem xmlns:ds="http://schemas.openxmlformats.org/officeDocument/2006/customXml" ds:itemID="{686A2EC1-AFC8-4C96-B71B-9977364D3558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6DB80E3E-686D-4D56-9889-68B9A19E6EF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BDDEB9-B263-4C5B-9AD9-1684DA637C4A}">
  <ds:schemaRefs>
    <ds:schemaRef ds:uri="13102e63-8df2-463d-b456-b153fd94878f"/>
    <ds:schemaRef ds:uri="1d5f55a5-3b98-4d42-a0b6-2259c57a5379"/>
    <ds:schemaRef ds:uri="5dc8fafb-a5e2-4763-9fa1-af6e40f7ed85"/>
    <ds:schemaRef ds:uri="8b6554e0-6c02-4d94-8886-01899cf0d43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127F8858-7A16-4618-9457-3AC1BEBD0574}">
  <ds:schemaRefs>
    <ds:schemaRef ds:uri="8b6554e0-6c02-4d94-8886-01899cf0d43b"/>
    <ds:schemaRef ds:uri="1d5f55a5-3b98-4d42-a0b6-2259c57a5379"/>
    <ds:schemaRef ds:uri="http://purl.org/dc/terms/"/>
    <ds:schemaRef ds:uri="http://purl.org/dc/dcmitype/"/>
    <ds:schemaRef ds:uri="http://schemas.microsoft.com/office/2006/documentManagement/types"/>
    <ds:schemaRef ds:uri="5dc8fafb-a5e2-4763-9fa1-af6e40f7ed85"/>
    <ds:schemaRef ds:uri="http://schemas.microsoft.com/office/infopath/2007/PartnerControls"/>
    <ds:schemaRef ds:uri="http://purl.org/dc/elements/1.1/"/>
    <ds:schemaRef ds:uri="13102e63-8df2-463d-b456-b153fd94878f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</TotalTime>
  <Words>257</Words>
  <Application>Microsoft Office PowerPoint</Application>
  <PresentationFormat>On-screen Show (4:3)</PresentationFormat>
  <Paragraphs>4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.AppleSystemUIFont</vt:lpstr>
      <vt:lpstr>Arial</vt:lpstr>
      <vt:lpstr>Calibri</vt:lpstr>
      <vt:lpstr>Verdana</vt:lpstr>
      <vt:lpstr>1_Office Theme</vt:lpstr>
      <vt:lpstr>think-cell Slide</vt:lpstr>
      <vt:lpstr>To continue driving accessibility to energy assistance, we leverage our existing processes and our targeted proactive outreach to income-challenged customers</vt:lpstr>
      <vt:lpstr>LIHEAP Direct Support allocates funds to support customers spanning several journeys, while leveraging the DTE allocated contribution to support a broader population of customers in ne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Tamara Johnson</cp:lastModifiedBy>
  <cp:revision>2</cp:revision>
  <dcterms:created xsi:type="dcterms:W3CDTF">2019-04-16T23:00:42Z</dcterms:created>
  <dcterms:modified xsi:type="dcterms:W3CDTF">2021-11-07T21:5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4AF15C788E4842B387C5CEE891FD9F</vt:lpwstr>
  </property>
</Properties>
</file>